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heme/themeOverride3.xml" ContentType="application/vnd.openxmlformats-officedocument.themeOverrid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theme/themeOverride4.xml" ContentType="application/vnd.openxmlformats-officedocument.themeOverrid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6.xml" ContentType="application/vnd.openxmlformats-officedocument.theme+xml"/>
  <Override PartName="/ppt/theme/themeOverride5.xml" ContentType="application/vnd.openxmlformats-officedocument.themeOverride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09" r:id="rId4"/>
    <p:sldMasterId id="2147484179" r:id="rId5"/>
    <p:sldMasterId id="2147484471" r:id="rId6"/>
    <p:sldMasterId id="2147484439" r:id="rId7"/>
    <p:sldMasterId id="2147484409" r:id="rId8"/>
    <p:sldMasterId id="2147484523" r:id="rId9"/>
  </p:sldMasterIdLst>
  <p:notesMasterIdLst>
    <p:notesMasterId r:id="rId33"/>
  </p:notesMasterIdLst>
  <p:handoutMasterIdLst>
    <p:handoutMasterId r:id="rId34"/>
  </p:handoutMasterIdLst>
  <p:sldIdLst>
    <p:sldId id="256" r:id="rId10"/>
    <p:sldId id="2147470810" r:id="rId11"/>
    <p:sldId id="2147471502" r:id="rId12"/>
    <p:sldId id="2147471507" r:id="rId13"/>
    <p:sldId id="2147471506" r:id="rId14"/>
    <p:sldId id="2147471481" r:id="rId15"/>
    <p:sldId id="2147471499" r:id="rId16"/>
    <p:sldId id="2147471508" r:id="rId17"/>
    <p:sldId id="2147471509" r:id="rId18"/>
    <p:sldId id="2147471504" r:id="rId19"/>
    <p:sldId id="2147471496" r:id="rId20"/>
    <p:sldId id="2147471505" r:id="rId21"/>
    <p:sldId id="2147471510" r:id="rId22"/>
    <p:sldId id="2147471512" r:id="rId23"/>
    <p:sldId id="2147471513" r:id="rId24"/>
    <p:sldId id="2147471514" r:id="rId25"/>
    <p:sldId id="2147471515" r:id="rId26"/>
    <p:sldId id="2147471516" r:id="rId27"/>
    <p:sldId id="2147471497" r:id="rId28"/>
    <p:sldId id="2147471517" r:id="rId29"/>
    <p:sldId id="2147471498" r:id="rId30"/>
    <p:sldId id="2147471501" r:id="rId31"/>
    <p:sldId id="2147471518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22440ABE-F001-4942-9B35-A700C02E4020}">
          <p14:sldIdLst>
            <p14:sldId id="256"/>
            <p14:sldId id="2147470810"/>
            <p14:sldId id="2147471502"/>
            <p14:sldId id="2147471507"/>
            <p14:sldId id="2147471506"/>
            <p14:sldId id="2147471481"/>
            <p14:sldId id="2147471499"/>
            <p14:sldId id="2147471508"/>
            <p14:sldId id="2147471509"/>
            <p14:sldId id="2147471504"/>
            <p14:sldId id="2147471496"/>
            <p14:sldId id="2147471505"/>
            <p14:sldId id="2147471510"/>
            <p14:sldId id="2147471512"/>
          </p14:sldIdLst>
        </p14:section>
        <p14:section name="Intro" id="{79BBA471-327D-4BCA-9A0B-1D7097FD8727}">
          <p14:sldIdLst>
            <p14:sldId id="2147471513"/>
            <p14:sldId id="2147471514"/>
            <p14:sldId id="2147471515"/>
            <p14:sldId id="2147471516"/>
            <p14:sldId id="2147471497"/>
            <p14:sldId id="2147471517"/>
            <p14:sldId id="2147471498"/>
            <p14:sldId id="2147471501"/>
            <p14:sldId id="214747151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5E3045-EED2-2B41-00D7-D2DB0144653A}" name="Hveem, Jon Øivind" initials="HJØ" userId="S::jon-oivind.hveem@teliacompany.com::2582c6c2-4d17-4f68-9459-49f5f9ba333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B00"/>
    <a:srgbClr val="990AE3"/>
    <a:srgbClr val="FBAE40"/>
    <a:srgbClr val="FFFFFF"/>
    <a:srgbClr val="FBF0FF"/>
    <a:srgbClr val="DE99FF"/>
    <a:srgbClr val="DEEFEE"/>
    <a:srgbClr val="F2F2F2"/>
    <a:srgbClr val="EAEE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5267" autoAdjust="0"/>
  </p:normalViewPr>
  <p:slideViewPr>
    <p:cSldViewPr snapToGrid="0">
      <p:cViewPr>
        <p:scale>
          <a:sx n="50" d="100"/>
          <a:sy n="50" d="100"/>
        </p:scale>
        <p:origin x="1292" y="32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8D5E8732-800F-CB02-3464-0E1C978AE2D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BD65DD3-4C8F-B733-6218-6B1F9D3412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6AFF3-1872-43EC-979A-5ED22163A41B}" type="datetimeFigureOut">
              <a:rPr lang="sv-SE" smtClean="0"/>
              <a:t>2025-04-25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79FDFFC-494F-320F-A6AF-6BD5563A65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6C810B4-C5BF-ABEA-A720-5AE1F8A7EC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38FDB-D25F-4BBE-93D5-E4A3B6A3D3D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77032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4.97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0 2457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12T13:35:03.96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2D6318-D47A-437E-AC11-D234B9E4B6DB}" type="datetimeFigureOut">
              <a:rPr lang="en-US" smtClean="0"/>
              <a:t>4/2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2905E-7C5E-49ED-87E3-BC42336505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2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344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D1153D-D293-7EA1-80A9-B7780B7DD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89826E-A48B-4392-6B1F-A14042E8D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213E3D-777B-20B7-FB7C-DB0531D1B9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E0915-C002-DDDF-55AF-9A437F75E7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738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42905E-7C5E-49ED-87E3-BC423365050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404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42905E-7C5E-49ED-87E3-BC423365050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78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42905E-7C5E-49ED-87E3-BC423365050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272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344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D1153D-D293-7EA1-80A9-B7780B7DD0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89826E-A48B-4392-6B1F-A14042E8D9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213E3D-777B-20B7-FB7C-DB0531D1B9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E0915-C002-DDDF-55AF-9A437F75E7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7380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7692B-D847-1F65-6BA8-17CDD206AA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363239-E58C-E2C6-2D05-16935A0C77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1D7D8C-00B5-8E50-7A07-7409A4E0D9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F62B68-35B4-A5C4-77C0-7BAD616B2A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943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E7692B-D847-1F65-6BA8-17CDD206AA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363239-E58C-E2C6-2D05-16935A0C77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1D7D8C-00B5-8E50-7A07-7409A4E0D9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F62B68-35B4-A5C4-77C0-7BAD616B2A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028019-AA91-4C76-BB6B-CB38C01EC3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943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3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F5D2E-E826-4DEB-8987-CF5A3F6BBA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3637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F866D3A9-63DD-44C3-B5EA-5965A5E5FA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0F84EB7-96B2-BB79-F3BE-0A795A7A503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8F490B2A-87F5-12CD-DC77-69E6C56A36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43812" y="6077138"/>
            <a:ext cx="3101683" cy="5364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9063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952B890-1BA0-2384-E1C2-FEE54F9F5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453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87A8430-AD10-6DAC-3B0C-10E7F08420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91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3F06384-15C2-9482-C82B-FB447FC2040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0152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56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0931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256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082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508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898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48681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92B5CD3-CC12-C42A-2899-CA7B6A3D47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680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14635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17972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8360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337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4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357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9293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2402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081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05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167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8685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9070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26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28924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3417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74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5935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3845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726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87A8430-AD10-6DAC-3B0C-10E7F08420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8601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7818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3F06384-15C2-9482-C82B-FB447FC2040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721227"/>
      </p:ext>
    </p:extLst>
  </p:cSld>
  <p:clrMapOvr>
    <a:masterClrMapping/>
  </p:clrMapOvr>
  <p:hf sldNum="0"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755131"/>
      </p:ext>
    </p:extLst>
  </p:cSld>
  <p:clrMapOvr>
    <a:masterClrMapping/>
  </p:clrMapOvr>
  <p:hf sldNum="0"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740280"/>
      </p:ext>
    </p:extLst>
  </p:cSld>
  <p:clrMapOvr>
    <a:masterClrMapping/>
  </p:clrMapOvr>
  <p:hf sldNum="0"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077723"/>
      </p:ext>
    </p:extLst>
  </p:cSld>
  <p:clrMapOvr>
    <a:masterClrMapping/>
  </p:clrMapOvr>
  <p:hf sldNum="0"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226273"/>
      </p:ext>
    </p:extLst>
  </p:cSld>
  <p:clrMapOvr>
    <a:masterClrMapping/>
  </p:clrMapOvr>
  <p:hf sldNum="0"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59389"/>
      </p:ext>
    </p:extLst>
  </p:cSld>
  <p:clrMapOvr>
    <a:masterClrMapping/>
  </p:clrMapOvr>
  <p:hf sldNum="0"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41765"/>
      </p:ext>
    </p:extLst>
  </p:cSld>
  <p:clrMapOvr>
    <a:masterClrMapping/>
  </p:clrMapOvr>
  <p:hf sldNum="0"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216431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350910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61849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914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38877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154760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77056"/>
      </p:ext>
    </p:extLst>
  </p:cSld>
  <p:clrMapOvr>
    <a:masterClrMapping/>
  </p:clrMapOvr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36276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79658"/>
      </p:ext>
    </p:extLst>
  </p:cSld>
  <p:clrMapOvr>
    <a:masterClrMapping/>
  </p:clrMapOvr>
  <p:hf sldNum="0"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594"/>
      </p:ext>
    </p:extLst>
  </p:cSld>
  <p:clrMapOvr>
    <a:masterClrMapping/>
  </p:clrMapOvr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95276"/>
      </p:ext>
    </p:extLst>
  </p:cSld>
  <p:clrMapOvr>
    <a:masterClrMapping/>
  </p:clrMapOvr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088248"/>
      </p:ext>
    </p:extLst>
  </p:cSld>
  <p:clrMapOvr>
    <a:masterClrMapping/>
  </p:clrMapOvr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618461"/>
      </p:ext>
    </p:extLst>
  </p:cSld>
  <p:clrMapOvr>
    <a:masterClrMapping/>
  </p:clrMapOvr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38285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7480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826866"/>
      </p:ext>
    </p:extLst>
  </p:cSld>
  <p:clrMapOvr>
    <a:masterClrMapping/>
  </p:clrMapOvr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35877"/>
      </p:ext>
    </p:extLst>
  </p:cSld>
  <p:clrMapOvr>
    <a:masterClrMapping/>
  </p:clrMapOvr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448874"/>
      </p:ext>
    </p:extLst>
  </p:cSld>
  <p:clrMapOvr>
    <a:masterClrMapping/>
  </p:clrMapOvr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852582"/>
      </p:ext>
    </p:extLst>
  </p:cSld>
  <p:clrMapOvr>
    <a:masterClrMapping/>
  </p:clrMapOvr>
  <p:hf sldNum="0"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799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103766"/>
      </p:ext>
    </p:extLst>
  </p:cSld>
  <p:clrMapOvr>
    <a:masterClrMapping/>
  </p:clrMapOvr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25361"/>
      </p:ext>
    </p:extLst>
  </p:cSld>
  <p:clrMapOvr>
    <a:masterClrMapping/>
  </p:clrMapOvr>
  <p:hf sldNum="0"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84933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786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697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52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11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1554547-863F-453B-9DD0-5B174EF050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84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0D66FAA-90A6-04F1-4A63-C5B499CF9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834D8DFB-F3E8-3E2C-4783-13853441B61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3660EB4-647E-42D8-DE9B-4D41850F49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43812" y="6077138"/>
            <a:ext cx="3101683" cy="5364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6950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481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156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7359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99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989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581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42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0765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503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357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99516AB-B8E1-4986-8DFD-5A0182E95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90C4F57-E005-482C-9FCC-609932E238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E6D493B-4FCC-4E6B-D307-83F4F454D6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ABB00C4E-D994-EA51-8B39-3F3369FC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934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094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1451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59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9812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441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12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184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298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9323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6E99CDD-4812-8BC9-9071-CB5D62C6A2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22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4A9B9A3C-C38B-4160-BF4F-CEFB128B93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B2AA90-6965-45B7-27B6-AF43F5BC13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8606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968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36C07DF2-8946-E06D-818B-03E6244BEC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987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481493-D741-894B-AED2-25EADF12E5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5481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980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8349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7656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5644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834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7092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5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1177025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99C82F0-D546-0486-43B4-D28EBD673B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67EB664-A01A-D63E-8F84-0DA5D6518D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414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2625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557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9938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8500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97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3050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7352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186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695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44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56F67E-40A2-432D-8A21-1568C0D9E5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8BA5335-FB31-5E91-E93D-80B79E045A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144EDFF-B4B5-D0DC-BB97-F54EDA24A2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158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395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179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830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9953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2765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013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06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529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8465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29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 </a:t>
            </a:r>
            <a:r>
              <a:rPr lang="en-GB" err="1"/>
              <a:t>pt</a:t>
            </a:r>
            <a:r>
              <a:rPr lang="en-GB"/>
              <a:t>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FF3C998-C863-07B2-5425-DCB5A446ED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B1739EB-E0FC-CA75-E4BB-4E9DA39BC74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756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2B78C907-B33A-F8B0-FF12-AE3E00C25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4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5724083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D297AB5-496F-4E29-8C05-AE4B3C5ED5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EE18DE09-81E6-341D-B132-1CB5066464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6152161-4BD2-2C41-25E0-B55FF3A6EA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811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8100DFE-DB1F-E6B7-1A55-82932195541F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5C524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C7A1B36-C880-F1CC-E51A-864CE373D6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2828056-42C3-18B4-5AFB-0FEB789561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FF12EBA-A846-63EA-5578-AE98ED360E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815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A5AEFCE-E244-B1D8-1000-5BFCFC5AC5B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5C524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11F02B66-5791-8348-712F-B8373A177B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D10528DD-FC9F-04DC-F4CF-B3AD8A3CD3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C03E102B-5D51-5722-9973-7FBA22BEF1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3996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5C524E"/>
                </a:solidFill>
              </a:defRPr>
            </a:lvl1pPr>
            <a:lvl2pPr marL="324000" indent="0">
              <a:buNone/>
              <a:defRPr>
                <a:solidFill>
                  <a:srgbClr val="5C524E"/>
                </a:solidFill>
              </a:defRPr>
            </a:lvl2pPr>
            <a:lvl3pPr marL="612000" indent="0">
              <a:buNone/>
              <a:defRPr>
                <a:solidFill>
                  <a:srgbClr val="5C524E"/>
                </a:solidFill>
              </a:defRPr>
            </a:lvl3pPr>
            <a:lvl4pPr marL="864000" indent="0">
              <a:buNone/>
              <a:defRPr>
                <a:solidFill>
                  <a:srgbClr val="5C524E"/>
                </a:solidFill>
              </a:defRPr>
            </a:lvl4pPr>
            <a:lvl5pPr marL="1044000" indent="0">
              <a:buNone/>
              <a:defRPr>
                <a:solidFill>
                  <a:srgbClr val="5C524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0F28F0B-4D5F-E9F9-23B1-D6D8E1F376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B1507E33-E7CB-6D10-D8D0-78E6B28BD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1757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F8DF5EA6-6866-5CAF-1596-FE8970248C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93F4654E-831C-F234-D21F-9FF042680D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1877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3C3CA08-FE8E-359E-FD9F-3BECE8AC89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3EFE60A-5D46-9856-CBD5-55D295B6A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514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32B7F604-3205-FB27-3FC3-D4C542A641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57D305D7-1EA6-8269-48B5-2E02B57327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6560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15FE3B5-1E56-6074-C6DB-FD09C33769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70E1348-C013-5852-F252-58AC765938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227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F6DD351-1619-90EF-58AE-32DE61165F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DC0BFD9-4F30-4F12-9641-EB635E5E35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8922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D9FFA55-2C2F-6E25-8A39-ED4193027E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129ACAD-BAF9-E835-31B3-049C51CA83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641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chemeClr val="bg1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53047CF-CD16-BC3E-C513-3646492129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48132E-82F0-3509-E221-06380B7989A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292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5D52975-D2CB-D020-6B29-2A2763E2D3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4F0B383-7F9A-4A09-0BA4-B8D474136E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154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56207496-9B84-2A36-712B-7BC0B9C19D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92BA3F1-8223-5196-C67A-69B71D92E5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633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5C524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6A9F743-D1A7-FA67-25F1-170FCBB33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39DE1145-FD50-1834-A00E-D9AAF4E0DF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9047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8E85CF56-607A-297C-B983-B5BF7AD176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DD1B34E-B1BB-1D6C-49D2-2EE5440544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2316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3DC239F-0B8D-85A7-F502-50B2395322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984A5C0-9DB2-C79D-BA53-0BCE4CF8AF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90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881A75C-6C1B-DB0D-7786-367B54F65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7A60C0-AE1F-7E4E-DDF9-1FCDF052B5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271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607EB82-E830-98D7-045B-EA5CFCB075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2201251-BE59-C5EF-D8A8-2E9264DB8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535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947F799-AFD8-9042-4729-14E8D926A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1B742F7-92F2-14CA-B6B4-DBFEA7A83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744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7CAE2-6BE0-4646-528A-022D8C5065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B20E7877-C38D-435E-18EE-0BA9D8E2B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045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E49A61-B659-B47B-79EF-9CF11BDF3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F820AF0-60D1-D383-5746-FE93166845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9831C04-F989-8336-C3EE-3E6ECD9F20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4ACC9274-A8FC-3686-FDAA-1573532D9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68B4CE5D-8097-055A-3F4D-2A340C68CA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76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F9DCBC4-A827-7A0A-42E5-D2E86282D6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593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77BADBB-549C-3332-18DE-B86A4E0AAA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91EBAD-686B-D1C1-6BB3-78414124BCF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103730B-A1B2-6904-8486-8CCE65DE1CA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1B100A9-90B9-2621-740E-A5AC035455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F549C565-5B35-45BE-2553-E96C3FE487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3D2D1E0-2ACE-241C-50B1-09BCEACED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5027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C1265ED9-0DDD-DE5C-3253-7ED87F347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FEA35420-6803-0A31-46DC-75BA17A460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4352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67B5681-C25D-37B4-ED4D-C599524F5F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FD78F35-10C5-A289-3D90-5574478312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897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5C524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0F9E2C51-B463-9B26-D80C-63463F6397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4C9C692-246F-2113-411A-51B1BE84DC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238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43CE7B1-BFE2-003A-C7A6-2A8562839B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BD9EBE8-37C4-4AE2-CF29-2BCD848E48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9530335-D4F4-3C80-D63F-FCBE9D0059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726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B7B10E-0697-F07A-C213-61D1A4E56E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14D0C2-F81C-DFAA-6F18-5331ADEB65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E3D6D3F-A307-B3D9-17E8-47662FE701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385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965880-3A18-3DF7-0A20-EFBB09A339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CE1AF4C7-F59B-27DB-34BE-7D1A73D2EC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CD9E222-F77A-CA8C-0EA8-0F511CC60A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2DDD985A-2865-73C4-8A5C-25B5085B63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287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884BC245-1EDD-1704-D313-A5F9836434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84DF59-3F42-BB33-CF23-2FBC10763D6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F240849D-08C5-A473-AB4D-DEA8A8FA3CD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A1EE5A9-B0BE-167A-94C8-E373CD7260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61BC741-25FF-618E-155E-B76F1C3071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339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2F4EE0D-5EAC-37A7-B4ED-4E72724533A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BEAC441-2FF8-E0CB-630B-E230B3C536F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F9FAF6BA-0B3A-07B7-C4C1-5B274B2F83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CECCECC8-1D3F-8260-1620-422F6B71760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BB0AD8F-49B2-C82F-0ACD-B622BAF99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530B027-212F-F673-8FAA-DA971DFACF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279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6E9BD259-1940-F726-2821-8DB3F6558BE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60CAF7B6-CDF0-7AF8-BD5F-5516EBCE72E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4E4DFE8-A4F7-F282-5250-C5CC43ACD2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FA9BB17D-93A1-D421-C426-35F7EB4C56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5FD1C3E-7F3A-0CD8-D8E7-5725E407AE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DB63766-96DA-0BB5-F885-844574EA83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4671384B-7218-18E7-469E-C0579E6535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29A1731-ECCB-F1F8-ECC7-94113C139F1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0D5E10D-0611-C94F-0448-C1070738F7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1A3B3FD-8EFD-7A03-D4B8-A071CE6A99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82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6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8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256" r:id="rId2"/>
    <p:sldLayoutId id="2147484257" r:id="rId3"/>
    <p:sldLayoutId id="2147484254" r:id="rId4"/>
    <p:sldLayoutId id="2147484255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346" r:id="rId13"/>
    <p:sldLayoutId id="2147484225" r:id="rId14"/>
    <p:sldLayoutId id="2147484226" r:id="rId15"/>
    <p:sldLayoutId id="2147484227" r:id="rId16"/>
    <p:sldLayoutId id="2147484228" r:id="rId17"/>
    <p:sldLayoutId id="2147484229" r:id="rId18"/>
    <p:sldLayoutId id="2147484230" r:id="rId19"/>
    <p:sldLayoutId id="2147484231" r:id="rId20"/>
    <p:sldLayoutId id="2147484232" r:id="rId21"/>
    <p:sldLayoutId id="2147484233" r:id="rId22"/>
    <p:sldLayoutId id="2147484234" r:id="rId23"/>
    <p:sldLayoutId id="2147484235" r:id="rId24"/>
    <p:sldLayoutId id="2147484236" r:id="rId25"/>
    <p:sldLayoutId id="2147484237" r:id="rId26"/>
    <p:sldLayoutId id="2147484242" r:id="rId27"/>
    <p:sldLayoutId id="2147484238" r:id="rId28"/>
    <p:sldLayoutId id="2147484240" r:id="rId29"/>
    <p:sldLayoutId id="2147484241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4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22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  <p:sldLayoutId id="2147484478" r:id="rId9"/>
    <p:sldLayoutId id="2147484479" r:id="rId10"/>
    <p:sldLayoutId id="2147484480" r:id="rId11"/>
    <p:sldLayoutId id="2147484481" r:id="rId12"/>
    <p:sldLayoutId id="2147484482" r:id="rId13"/>
    <p:sldLayoutId id="2147484483" r:id="rId14"/>
    <p:sldLayoutId id="2147484484" r:id="rId15"/>
    <p:sldLayoutId id="2147484485" r:id="rId16"/>
    <p:sldLayoutId id="2147484486" r:id="rId17"/>
    <p:sldLayoutId id="2147484487" r:id="rId18"/>
    <p:sldLayoutId id="2147484488" r:id="rId19"/>
    <p:sldLayoutId id="2147484489" r:id="rId20"/>
    <p:sldLayoutId id="2147484490" r:id="rId21"/>
    <p:sldLayoutId id="2147484491" r:id="rId22"/>
    <p:sldLayoutId id="2147484492" r:id="rId23"/>
    <p:sldLayoutId id="2147484493" r:id="rId24"/>
    <p:sldLayoutId id="2147484494" r:id="rId25"/>
    <p:sldLayoutId id="2147484495" r:id="rId26"/>
    <p:sldLayoutId id="2147484496" r:id="rId27"/>
    <p:sldLayoutId id="2147484497" r:id="rId28"/>
    <p:sldLayoutId id="2147484498" r:id="rId29"/>
    <p:sldLayoutId id="2147484499" r:id="rId30"/>
    <p:sldLayoutId id="2147484500" r:id="rId31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5C524E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  <p:sldLayoutId id="2147484451" r:id="rId13"/>
    <p:sldLayoutId id="2147484452" r:id="rId14"/>
    <p:sldLayoutId id="2147484453" r:id="rId15"/>
    <p:sldLayoutId id="2147484454" r:id="rId16"/>
    <p:sldLayoutId id="2147484455" r:id="rId17"/>
    <p:sldLayoutId id="2147484456" r:id="rId18"/>
    <p:sldLayoutId id="2147484457" r:id="rId19"/>
    <p:sldLayoutId id="2147484458" r:id="rId20"/>
    <p:sldLayoutId id="2147484459" r:id="rId21"/>
    <p:sldLayoutId id="2147484460" r:id="rId22"/>
    <p:sldLayoutId id="2147484461" r:id="rId23"/>
    <p:sldLayoutId id="2147484462" r:id="rId24"/>
    <p:sldLayoutId id="2147484463" r:id="rId25"/>
    <p:sldLayoutId id="2147484464" r:id="rId26"/>
    <p:sldLayoutId id="2147484465" r:id="rId27"/>
    <p:sldLayoutId id="2147484466" r:id="rId28"/>
    <p:sldLayoutId id="2147484467" r:id="rId29"/>
    <p:sldLayoutId id="2147484468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5C524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5C524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5C524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5C524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60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20" r:id="rId11"/>
    <p:sldLayoutId id="2147484421" r:id="rId12"/>
    <p:sldLayoutId id="2147484422" r:id="rId13"/>
    <p:sldLayoutId id="2147484423" r:id="rId14"/>
    <p:sldLayoutId id="2147484424" r:id="rId15"/>
    <p:sldLayoutId id="2147484425" r:id="rId16"/>
    <p:sldLayoutId id="2147484426" r:id="rId17"/>
    <p:sldLayoutId id="2147484427" r:id="rId18"/>
    <p:sldLayoutId id="2147484428" r:id="rId19"/>
    <p:sldLayoutId id="2147484429" r:id="rId20"/>
    <p:sldLayoutId id="2147484430" r:id="rId21"/>
    <p:sldLayoutId id="2147484431" r:id="rId22"/>
    <p:sldLayoutId id="2147484432" r:id="rId23"/>
    <p:sldLayoutId id="2147484433" r:id="rId24"/>
    <p:sldLayoutId id="2147484434" r:id="rId25"/>
    <p:sldLayoutId id="2147484435" r:id="rId26"/>
    <p:sldLayoutId id="2147484436" r:id="rId27"/>
    <p:sldLayoutId id="2147484437" r:id="rId28"/>
    <p:sldLayoutId id="2147484438" r:id="rId29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5/04/202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r>
              <a:rPr lang="en-GB" dirty="0"/>
              <a:t>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43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7" r:id="rId4"/>
    <p:sldLayoutId id="2147484528" r:id="rId5"/>
    <p:sldLayoutId id="2147484529" r:id="rId6"/>
    <p:sldLayoutId id="2147484530" r:id="rId7"/>
    <p:sldLayoutId id="2147484531" r:id="rId8"/>
    <p:sldLayoutId id="2147484532" r:id="rId9"/>
    <p:sldLayoutId id="2147484533" r:id="rId10"/>
    <p:sldLayoutId id="2147484534" r:id="rId11"/>
    <p:sldLayoutId id="2147484535" r:id="rId12"/>
    <p:sldLayoutId id="2147484536" r:id="rId13"/>
    <p:sldLayoutId id="2147484537" r:id="rId14"/>
    <p:sldLayoutId id="2147484538" r:id="rId15"/>
    <p:sldLayoutId id="2147484539" r:id="rId16"/>
    <p:sldLayoutId id="2147484540" r:id="rId17"/>
    <p:sldLayoutId id="2147484541" r:id="rId18"/>
    <p:sldLayoutId id="2147484542" r:id="rId19"/>
    <p:sldLayoutId id="2147484543" r:id="rId20"/>
    <p:sldLayoutId id="2147484544" r:id="rId21"/>
    <p:sldLayoutId id="2147484545" r:id="rId22"/>
    <p:sldLayoutId id="2147484546" r:id="rId23"/>
    <p:sldLayoutId id="2147484547" r:id="rId24"/>
    <p:sldLayoutId id="2147484548" r:id="rId25"/>
    <p:sldLayoutId id="2147484549" r:id="rId26"/>
    <p:sldLayoutId id="2147484550" r:id="rId27"/>
    <p:sldLayoutId id="2147484551" r:id="rId28"/>
    <p:sldLayoutId id="2147484552" r:id="rId29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4.png"/><Relationship Id="rId5" Type="http://schemas.openxmlformats.org/officeDocument/2006/relationships/customXml" Target="../ink/ink6.xml"/><Relationship Id="rId4" Type="http://schemas.openxmlformats.org/officeDocument/2006/relationships/image" Target="NUL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customXml" Target="../ink/ink7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0.png"/><Relationship Id="rId4" Type="http://schemas.openxmlformats.org/officeDocument/2006/relationships/customXml" Target="../ink/ink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customXml" Target="../ink/ink9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1.png"/><Relationship Id="rId4" Type="http://schemas.openxmlformats.org/officeDocument/2006/relationships/customXml" Target="../ink/ink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customXml" Target="../ink/ink11.xml"/><Relationship Id="rId1" Type="http://schemas.openxmlformats.org/officeDocument/2006/relationships/slideLayout" Target="../slideLayouts/slideLayout40.xml"/><Relationship Id="rId4" Type="http://schemas.openxmlformats.org/officeDocument/2006/relationships/customXml" Target="../ink/ink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customXml" Target="../ink/ink13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2.png"/><Relationship Id="rId4" Type="http://schemas.openxmlformats.org/officeDocument/2006/relationships/customXml" Target="../ink/ink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customXml" Target="../ink/ink15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3.png"/><Relationship Id="rId4" Type="http://schemas.openxmlformats.org/officeDocument/2006/relationships/customXml" Target="../ink/ink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6.xml"/><Relationship Id="rId6" Type="http://schemas.openxmlformats.org/officeDocument/2006/relationships/image" Target="../media/image2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40.xml"/><Relationship Id="rId4" Type="http://schemas.openxmlformats.org/officeDocument/2006/relationships/customXml" Target="../ink/ink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40.xml"/><Relationship Id="rId4" Type="http://schemas.openxmlformats.org/officeDocument/2006/relationships/customXml" Target="../ink/ink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FEEE3DD-4FDB-0F53-02F8-F445A292DB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1811" y="3090859"/>
            <a:ext cx="9328377" cy="904876"/>
          </a:xfrm>
        </p:spPr>
        <p:txBody>
          <a:bodyPr/>
          <a:lstStyle/>
          <a:p>
            <a:r>
              <a:rPr lang="sv-SE" sz="5400" dirty="0">
                <a:solidFill>
                  <a:schemeClr val="bg1"/>
                </a:solidFill>
              </a:rPr>
              <a:t>                </a:t>
            </a:r>
            <a:r>
              <a:rPr lang="en" sz="5400" b="1" strike="noStrike" spc="-1" dirty="0">
                <a:solidFill>
                  <a:schemeClr val="bg1"/>
                </a:solidFill>
                <a:latin typeface="Outfit"/>
                <a:ea typeface="Outfit"/>
              </a:rPr>
              <a:t>Test Strategy</a:t>
            </a:r>
            <a:br>
              <a:rPr lang="sv-SE" sz="5400" dirty="0">
                <a:solidFill>
                  <a:schemeClr val="bg1"/>
                </a:solidFill>
              </a:rPr>
            </a:br>
            <a:r>
              <a:rPr lang="sv-SE" sz="24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64A8F3A-D3B7-49D5-BA15-CFB50C9204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3371" y="6405562"/>
            <a:ext cx="2727325" cy="904876"/>
          </a:xfrm>
        </p:spPr>
        <p:txBody>
          <a:bodyPr/>
          <a:lstStyle/>
          <a:p>
            <a:r>
              <a:rPr lang="sv-SE" dirty="0">
                <a:latin typeface="Abadi" panose="020B0604020104020204" pitchFamily="34" charset="0"/>
              </a:rPr>
              <a:t>2025-04-23</a:t>
            </a:r>
          </a:p>
        </p:txBody>
      </p:sp>
    </p:spTree>
    <p:extLst>
      <p:ext uri="{BB962C8B-B14F-4D97-AF65-F5344CB8AC3E}">
        <p14:creationId xmlns:p14="http://schemas.microsoft.com/office/powerpoint/2010/main" val="52509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32BB45-D857-6580-DB6B-F66E3464F5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16816" y="2468210"/>
            <a:ext cx="3733798" cy="2131257"/>
          </a:xfrm>
        </p:spPr>
        <p:txBody>
          <a:bodyPr/>
          <a:lstStyle/>
          <a:p>
            <a:endParaRPr lang="en-IN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est cases in X-ra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est execution results in X-ra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Regression Test Suit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est Status Dashboar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Defect Dashboar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B6577AF-A43B-8C9B-5AFF-BBD5FD510A35}"/>
              </a:ext>
            </a:extLst>
          </p:cNvPr>
          <p:cNvSpPr txBox="1">
            <a:spLocks/>
          </p:cNvSpPr>
          <p:nvPr/>
        </p:nvSpPr>
        <p:spPr>
          <a:xfrm>
            <a:off x="1189526" y="2799806"/>
            <a:ext cx="4607770" cy="6291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sz="4000" b="1" spc="-1" dirty="0">
                <a:solidFill>
                  <a:schemeClr val="bg1"/>
                </a:solidFill>
                <a:ea typeface="Outfit"/>
              </a:rPr>
              <a:t>Test Deliverables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23E8D0-84D1-8494-D21F-6E062D6F331B}"/>
              </a:ext>
            </a:extLst>
          </p:cNvPr>
          <p:cNvSpPr txBox="1"/>
          <p:nvPr/>
        </p:nvSpPr>
        <p:spPr>
          <a:xfrm>
            <a:off x="6096000" y="2006360"/>
            <a:ext cx="3227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pc="-1" dirty="0">
                <a:ea typeface="Outfit"/>
              </a:rPr>
              <a:t>Test Deliverables-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5827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FF7FBF-05D8-7CAF-0978-B60C91EFC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E0D57-8F1F-48CD-4149-D1786B5343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781" y="2972614"/>
            <a:ext cx="5678424" cy="629194"/>
          </a:xfrm>
        </p:spPr>
        <p:txBody>
          <a:bodyPr anchor="t">
            <a:noAutofit/>
          </a:bodyPr>
          <a:lstStyle/>
          <a:p>
            <a:pPr>
              <a:spcAft>
                <a:spcPts val="400"/>
              </a:spcAft>
            </a:pPr>
            <a:r>
              <a:rPr lang="en-US" sz="4000" b="1" dirty="0">
                <a:solidFill>
                  <a:schemeClr val="bg1"/>
                </a:solidFill>
                <a:latin typeface="+mj-lt"/>
              </a:rPr>
              <a:t>Roles &amp; Responsibilitie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2AE56112-DA2F-33C3-41AA-FEA24CC7D2DC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686960" y="62352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79FD7339-7596-41C7-ADE4-8B6E1F080C3A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1D116F64-4708-7251-5F2D-95F60335E5E8}"/>
              </a:ext>
            </a:extLst>
          </p:cNvPr>
          <p:cNvSpPr txBox="1"/>
          <p:nvPr/>
        </p:nvSpPr>
        <p:spPr>
          <a:xfrm>
            <a:off x="7166610" y="320257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A972A54D-C5C5-C8E5-B69D-E92BC6115EFA}"/>
              </a:ext>
            </a:extLst>
          </p:cNvPr>
          <p:cNvSpPr txBox="1"/>
          <p:nvPr/>
        </p:nvSpPr>
        <p:spPr>
          <a:xfrm>
            <a:off x="7867651" y="320665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B24E44C9-BE16-4459-8D81-24DDBA65A10E}"/>
              </a:ext>
            </a:extLst>
          </p:cNvPr>
          <p:cNvSpPr txBox="1"/>
          <p:nvPr/>
        </p:nvSpPr>
        <p:spPr>
          <a:xfrm>
            <a:off x="6104227" y="245329"/>
            <a:ext cx="567770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121214"/>
              </a:solidFill>
              <a:latin typeface="Telia San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Test design of user stories- writing test cases and execute the test cases as plann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Work with BA/DEV team to get the functional clarification wherever needed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Create Test Set &amp; Test Execution In Jira as per the Sprint/Releas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Execute manual test cases, capture and analyse results, attach the test evidence in Jir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Log defects if required and track it to closure 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Carry out regression testing during the sprint based on the impact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Maintain the regression suite along with BA - </a:t>
            </a:r>
            <a:r>
              <a:rPr lang="en-IN" sz="1400" b="1" u="sng" dirty="0"/>
              <a:t>Release on Releas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Review the Test cases with the BA and Get sign off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Provide ST results to AT testers for review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1400" dirty="0"/>
              <a:t>Participate in all Sprint ceremonies and technical discussio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B0A9E1-0C30-E10B-8B91-EB522A81B5A3}"/>
              </a:ext>
            </a:extLst>
          </p:cNvPr>
          <p:cNvSpPr txBox="1"/>
          <p:nvPr/>
        </p:nvSpPr>
        <p:spPr>
          <a:xfrm>
            <a:off x="5489228" y="153598"/>
            <a:ext cx="30021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/>
              <a:t>Functional Tester Responsibilities-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ED974-09A4-3E26-3405-40C3F9FCB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2641" y="4519031"/>
            <a:ext cx="5332240" cy="20936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4CB9928-874F-1BAF-7EAE-EA154E9E2AD8}"/>
              </a:ext>
            </a:extLst>
          </p:cNvPr>
          <p:cNvSpPr txBox="1"/>
          <p:nvPr/>
        </p:nvSpPr>
        <p:spPr>
          <a:xfrm>
            <a:off x="5593944" y="3368745"/>
            <a:ext cx="638963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/>
              <a:t>Automation Tester Responsibilities-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Participate in Regression scenario identifi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Involve in feasibility check, script development, demo and signoff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Execution of automated test scripts </a:t>
            </a:r>
          </a:p>
        </p:txBody>
      </p:sp>
    </p:spTree>
    <p:extLst>
      <p:ext uri="{BB962C8B-B14F-4D97-AF65-F5344CB8AC3E}">
        <p14:creationId xmlns:p14="http://schemas.microsoft.com/office/powerpoint/2010/main" val="3946877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47D1BA-B065-9580-B006-3887E69B7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1379" y="730883"/>
            <a:ext cx="5776540" cy="52220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D72FF8-5F66-4D2F-F2CA-CAED0FBD0D1A}"/>
              </a:ext>
            </a:extLst>
          </p:cNvPr>
          <p:cNvSpPr txBox="1"/>
          <p:nvPr/>
        </p:nvSpPr>
        <p:spPr>
          <a:xfrm>
            <a:off x="893134" y="2721114"/>
            <a:ext cx="39021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>
                <a:solidFill>
                  <a:schemeClr val="bg1"/>
                </a:solidFill>
              </a:rPr>
              <a:t>Defect Workflow</a:t>
            </a:r>
          </a:p>
        </p:txBody>
      </p:sp>
    </p:spTree>
    <p:extLst>
      <p:ext uri="{BB962C8B-B14F-4D97-AF65-F5344CB8AC3E}">
        <p14:creationId xmlns:p14="http://schemas.microsoft.com/office/powerpoint/2010/main" val="14258524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1">
            <a:extLst>
              <a:ext uri="{FF2B5EF4-FFF2-40B4-BE49-F238E27FC236}">
                <a16:creationId xmlns:a16="http://schemas.microsoft.com/office/drawing/2014/main" id="{F7FB2BF1-15BB-B70E-B17B-97F417734B1B}"/>
              </a:ext>
            </a:extLst>
          </p:cNvPr>
          <p:cNvSpPr txBox="1">
            <a:spLocks/>
          </p:cNvSpPr>
          <p:nvPr/>
        </p:nvSpPr>
        <p:spPr>
          <a:xfrm>
            <a:off x="-2443163" y="2596015"/>
            <a:ext cx="8729663" cy="8329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5400" dirty="0">
                <a:solidFill>
                  <a:schemeClr val="bg1"/>
                </a:solidFill>
              </a:rPr>
              <a:t>                </a:t>
            </a:r>
            <a:r>
              <a:rPr lang="en" sz="4000" b="1" spc="-1" dirty="0">
                <a:solidFill>
                  <a:schemeClr val="bg1"/>
                </a:solidFill>
              </a:rPr>
              <a:t>Test</a:t>
            </a:r>
            <a:r>
              <a:rPr lang="en" sz="5400" b="1" spc="-1" dirty="0">
                <a:solidFill>
                  <a:schemeClr val="bg1"/>
                </a:solidFill>
                <a:latin typeface="Outfit"/>
                <a:ea typeface="Outfit"/>
              </a:rPr>
              <a:t> </a:t>
            </a:r>
            <a:r>
              <a:rPr lang="en" sz="4000" b="1" spc="-1" dirty="0">
                <a:solidFill>
                  <a:schemeClr val="bg1"/>
                </a:solidFill>
                <a:ea typeface="Outfit"/>
              </a:rPr>
              <a:t>Automation Approach</a:t>
            </a:r>
            <a:br>
              <a:rPr lang="sv-SE" sz="5400" dirty="0">
                <a:solidFill>
                  <a:schemeClr val="bg1"/>
                </a:solidFill>
              </a:rPr>
            </a:br>
            <a:r>
              <a:rPr lang="sv-SE" sz="24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3B02DC-934B-F87B-1110-33849AFFBD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2005" y="876300"/>
            <a:ext cx="5991695" cy="5105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07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44889D-5FC4-4D60-BAE6-E20A40A276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44889D-5FC4-4D60-BAE6-E20A40A27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8F3B3CD-C1C9-43FF-8D29-3EF1E71A6B00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E1868F-E727-4A91-B865-B51CACBD34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965" y="2497958"/>
            <a:ext cx="3231334" cy="465083"/>
          </a:xfrm>
        </p:spPr>
        <p:txBody>
          <a:bodyPr vert="horz"/>
          <a:lstStyle/>
          <a:p>
            <a:r>
              <a:rPr lang="en" sz="4000" b="1" strike="noStrike" spc="-1" dirty="0">
                <a:solidFill>
                  <a:schemeClr val="bg1"/>
                </a:solidFill>
                <a:ea typeface="Outfit"/>
              </a:rPr>
              <a:t>Test Automation Benefits</a:t>
            </a:r>
            <a:endParaRPr lang="en-GB" sz="4000" dirty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F481A7-37CF-4A8C-41A1-6BD6F08D92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8960B06-7731-40B7-8B26-5C52E05711EF}"/>
              </a:ext>
            </a:extLst>
          </p:cNvPr>
          <p:cNvSpPr/>
          <p:nvPr/>
        </p:nvSpPr>
        <p:spPr>
          <a:xfrm>
            <a:off x="5745163" y="97972"/>
            <a:ext cx="6029401" cy="6404428"/>
          </a:xfrm>
          <a:prstGeom prst="roundRect">
            <a:avLst>
              <a:gd name="adj" fmla="val 800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108000" rIns="72000" bIns="108000" rtlCol="0" anchor="t">
            <a:noAutofit/>
          </a:bodyPr>
          <a:lstStyle/>
          <a:p>
            <a:pPr lvl="1"/>
            <a:endParaRPr lang="en-US" sz="1400" dirty="0">
              <a:solidFill>
                <a:schemeClr val="tx1"/>
              </a:solidFill>
              <a:latin typeface="Abadi" panose="020B0604020104020204" pitchFamily="34" charset="0"/>
              <a:cs typeface="Times New Roman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36A1FF6-C104-892A-9623-7D4A39BC0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43799" y="1155209"/>
            <a:ext cx="5263747" cy="428995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0252432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DCA05-4FE5-39EA-92A5-931E08690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CFEDB6-C74F-4DF3-5A85-B85F9B681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CFEDB6-C74F-4DF3-5A85-B85F9B681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2FDE29C-E3A7-92D2-C65E-A748E9E42BC6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4A31AC-2DD2-4823-C8A6-789DD8E5CA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2573" y="2302679"/>
            <a:ext cx="3231334" cy="465083"/>
          </a:xfrm>
        </p:spPr>
        <p:txBody>
          <a:bodyPr vert="horz"/>
          <a:lstStyle/>
          <a:p>
            <a:r>
              <a:rPr lang="en-GB" sz="4000" dirty="0">
                <a:solidFill>
                  <a:schemeClr val="bg1"/>
                </a:solidFill>
              </a:rPr>
              <a:t>Current Test Suite Capabiliti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49F84D-4A92-7299-5D1C-DB3E3AABCEDF}"/>
              </a:ext>
            </a:extLst>
          </p:cNvPr>
          <p:cNvGrpSpPr/>
          <p:nvPr/>
        </p:nvGrpSpPr>
        <p:grpSpPr>
          <a:xfrm>
            <a:off x="6956351" y="3233890"/>
            <a:ext cx="3851948" cy="2311380"/>
            <a:chOff x="1733976" y="3138488"/>
            <a:chExt cx="3851948" cy="2311380"/>
          </a:xfrm>
        </p:grpSpPr>
        <p:sp>
          <p:nvSpPr>
            <p:cNvPr id="36" name="Rounded Rectangle 1">
              <a:extLst>
                <a:ext uri="{FF2B5EF4-FFF2-40B4-BE49-F238E27FC236}">
                  <a16:creationId xmlns:a16="http://schemas.microsoft.com/office/drawing/2014/main" id="{4D50B38A-3CFE-2006-DBAD-2944A9235541}"/>
                </a:ext>
              </a:extLst>
            </p:cNvPr>
            <p:cNvSpPr/>
            <p:nvPr/>
          </p:nvSpPr>
          <p:spPr>
            <a:xfrm>
              <a:off x="1733976" y="3138488"/>
              <a:ext cx="3851948" cy="2311379"/>
            </a:xfrm>
            <a:custGeom>
              <a:avLst/>
              <a:gdLst/>
              <a:ahLst/>
              <a:cxnLst/>
              <a:rect l="0" t="0" r="0" b="0"/>
              <a:pathLst>
                <a:path w="3851948" h="2311379">
                  <a:moveTo>
                    <a:pt x="1942511" y="1280873"/>
                  </a:moveTo>
                  <a:lnTo>
                    <a:pt x="3184208" y="0"/>
                  </a:lnTo>
                  <a:lnTo>
                    <a:pt x="3262327" y="80584"/>
                  </a:lnTo>
                  <a:cubicBezTo>
                    <a:pt x="3416985" y="240128"/>
                    <a:pt x="3629702" y="330180"/>
                    <a:pt x="3851906" y="330180"/>
                  </a:cubicBezTo>
                  <a:lnTo>
                    <a:pt x="3851948" y="330180"/>
                  </a:lnTo>
                  <a:cubicBezTo>
                    <a:pt x="3808451" y="330180"/>
                    <a:pt x="3766811" y="347807"/>
                    <a:pt x="3736543" y="379037"/>
                  </a:cubicBezTo>
                  <a:lnTo>
                    <a:pt x="2416685" y="1740539"/>
                  </a:lnTo>
                  <a:cubicBezTo>
                    <a:pt x="2062958" y="2105423"/>
                    <a:pt x="1576457" y="2311379"/>
                    <a:pt x="1068265" y="2311379"/>
                  </a:cubicBezTo>
                  <a:lnTo>
                    <a:pt x="0" y="2311379"/>
                  </a:lnTo>
                  <a:lnTo>
                    <a:pt x="0" y="2310897"/>
                  </a:lnTo>
                  <a:lnTo>
                    <a:pt x="212825" y="1981179"/>
                  </a:lnTo>
                  <a:lnTo>
                    <a:pt x="0" y="1651460"/>
                  </a:lnTo>
                  <a:lnTo>
                    <a:pt x="0" y="1650979"/>
                  </a:lnTo>
                  <a:lnTo>
                    <a:pt x="1068265" y="1650979"/>
                  </a:lnTo>
                  <a:cubicBezTo>
                    <a:pt x="1397757" y="1650979"/>
                    <a:pt x="1713173" y="1517447"/>
                    <a:pt x="1942511" y="1280873"/>
                  </a:cubicBezTo>
                  <a:close/>
                </a:path>
              </a:pathLst>
            </a:custGeom>
            <a:solidFill>
              <a:srgbClr val="E2A3FF"/>
            </a:solidFill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7" name="Rounded Rectangle 2">
              <a:extLst>
                <a:ext uri="{FF2B5EF4-FFF2-40B4-BE49-F238E27FC236}">
                  <a16:creationId xmlns:a16="http://schemas.microsoft.com/office/drawing/2014/main" id="{186099F0-7AE3-58F1-CF60-EFE4E351633A}"/>
                </a:ext>
              </a:extLst>
            </p:cNvPr>
            <p:cNvSpPr/>
            <p:nvPr/>
          </p:nvSpPr>
          <p:spPr>
            <a:xfrm>
              <a:off x="1733976" y="3138488"/>
              <a:ext cx="3851948" cy="2311380"/>
            </a:xfrm>
            <a:custGeom>
              <a:avLst/>
              <a:gdLst/>
              <a:ahLst/>
              <a:cxnLst/>
              <a:rect l="0" t="0" r="0" b="0"/>
              <a:pathLst>
                <a:path w="3851948" h="2311380">
                  <a:moveTo>
                    <a:pt x="1942515" y="1280875"/>
                  </a:moveTo>
                  <a:lnTo>
                    <a:pt x="3184210" y="0"/>
                  </a:lnTo>
                  <a:lnTo>
                    <a:pt x="3262327" y="80584"/>
                  </a:lnTo>
                  <a:cubicBezTo>
                    <a:pt x="3416987" y="240128"/>
                    <a:pt x="3629702" y="330180"/>
                    <a:pt x="3851904" y="330180"/>
                  </a:cubicBezTo>
                  <a:lnTo>
                    <a:pt x="3851948" y="330180"/>
                  </a:lnTo>
                  <a:cubicBezTo>
                    <a:pt x="3808453" y="330180"/>
                    <a:pt x="3766814" y="347807"/>
                    <a:pt x="3736540" y="379037"/>
                  </a:cubicBezTo>
                  <a:lnTo>
                    <a:pt x="2416683" y="1740539"/>
                  </a:lnTo>
                  <a:cubicBezTo>
                    <a:pt x="2062959" y="2105425"/>
                    <a:pt x="1576460" y="2311380"/>
                    <a:pt x="1068265" y="2311380"/>
                  </a:cubicBezTo>
                  <a:lnTo>
                    <a:pt x="0" y="2311380"/>
                  </a:lnTo>
                  <a:lnTo>
                    <a:pt x="0" y="2310899"/>
                  </a:lnTo>
                  <a:lnTo>
                    <a:pt x="212825" y="1981180"/>
                  </a:lnTo>
                  <a:lnTo>
                    <a:pt x="0" y="1651459"/>
                  </a:lnTo>
                  <a:lnTo>
                    <a:pt x="0" y="1650980"/>
                  </a:lnTo>
                  <a:lnTo>
                    <a:pt x="1068265" y="1650980"/>
                  </a:lnTo>
                  <a:cubicBezTo>
                    <a:pt x="1397754" y="1650980"/>
                    <a:pt x="1713177" y="1517449"/>
                    <a:pt x="1942515" y="1280875"/>
                  </a:cubicBezTo>
                  <a:close/>
                </a:path>
              </a:pathLst>
            </a:custGeom>
            <a:noFill/>
            <a:ln w="10318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A683282-5A6B-A767-CE73-A4C4A861E7F8}"/>
              </a:ext>
            </a:extLst>
          </p:cNvPr>
          <p:cNvGrpSpPr/>
          <p:nvPr/>
        </p:nvGrpSpPr>
        <p:grpSpPr>
          <a:xfrm>
            <a:off x="6948390" y="3253737"/>
            <a:ext cx="2577878" cy="1320905"/>
            <a:chOff x="1733976" y="3138351"/>
            <a:chExt cx="2577878" cy="1320905"/>
          </a:xfrm>
        </p:grpSpPr>
        <p:sp>
          <p:nvSpPr>
            <p:cNvPr id="34" name="Rounded Rectangle 4">
              <a:extLst>
                <a:ext uri="{FF2B5EF4-FFF2-40B4-BE49-F238E27FC236}">
                  <a16:creationId xmlns:a16="http://schemas.microsoft.com/office/drawing/2014/main" id="{06910C0F-364E-8A81-63BB-4151A0EB1C78}"/>
                </a:ext>
              </a:extLst>
            </p:cNvPr>
            <p:cNvSpPr/>
            <p:nvPr/>
          </p:nvSpPr>
          <p:spPr>
            <a:xfrm>
              <a:off x="1733976" y="3138351"/>
              <a:ext cx="2577878" cy="1320903"/>
            </a:xfrm>
            <a:custGeom>
              <a:avLst/>
              <a:gdLst/>
              <a:ahLst/>
              <a:cxnLst/>
              <a:rect l="0" t="0" r="0" b="0"/>
              <a:pathLst>
                <a:path w="2577878" h="1320903">
                  <a:moveTo>
                    <a:pt x="2577665" y="330305"/>
                  </a:moveTo>
                  <a:cubicBezTo>
                    <a:pt x="2480861" y="330305"/>
                    <a:pt x="2388185" y="369541"/>
                    <a:pt x="2320810" y="439052"/>
                  </a:cubicBezTo>
                  <a:lnTo>
                    <a:pt x="1766040" y="1011395"/>
                  </a:lnTo>
                  <a:cubicBezTo>
                    <a:pt x="1574276" y="1209233"/>
                    <a:pt x="1310515" y="1320903"/>
                    <a:pt x="1034984" y="1320903"/>
                  </a:cubicBezTo>
                  <a:lnTo>
                    <a:pt x="0" y="1320903"/>
                  </a:lnTo>
                  <a:lnTo>
                    <a:pt x="0" y="1320428"/>
                  </a:lnTo>
                  <a:lnTo>
                    <a:pt x="212825" y="990703"/>
                  </a:lnTo>
                  <a:lnTo>
                    <a:pt x="0" y="660986"/>
                  </a:lnTo>
                  <a:lnTo>
                    <a:pt x="0" y="660505"/>
                  </a:lnTo>
                  <a:lnTo>
                    <a:pt x="1034984" y="660505"/>
                  </a:lnTo>
                  <a:cubicBezTo>
                    <a:pt x="1131794" y="660505"/>
                    <a:pt x="1224464" y="621270"/>
                    <a:pt x="1291845" y="551759"/>
                  </a:cubicBezTo>
                  <a:lnTo>
                    <a:pt x="1826659" y="0"/>
                  </a:lnTo>
                  <a:lnTo>
                    <a:pt x="1846925" y="20897"/>
                  </a:lnTo>
                  <a:cubicBezTo>
                    <a:pt x="2038682" y="218675"/>
                    <a:pt x="2302402" y="330305"/>
                    <a:pt x="2577878" y="330305"/>
                  </a:cubicBezTo>
                  <a:close/>
                </a:path>
              </a:pathLst>
            </a:custGeom>
            <a:solidFill>
              <a:srgbClr val="CD6AFB"/>
            </a:solidFill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5" name="Rounded Rectangle 5">
              <a:extLst>
                <a:ext uri="{FF2B5EF4-FFF2-40B4-BE49-F238E27FC236}">
                  <a16:creationId xmlns:a16="http://schemas.microsoft.com/office/drawing/2014/main" id="{91145751-45FB-EBDC-93BD-7AE5035163E3}"/>
                </a:ext>
              </a:extLst>
            </p:cNvPr>
            <p:cNvSpPr/>
            <p:nvPr/>
          </p:nvSpPr>
          <p:spPr>
            <a:xfrm>
              <a:off x="1733976" y="3138351"/>
              <a:ext cx="2577878" cy="1320905"/>
            </a:xfrm>
            <a:custGeom>
              <a:avLst/>
              <a:gdLst/>
              <a:ahLst/>
              <a:cxnLst/>
              <a:rect l="0" t="0" r="0" b="0"/>
              <a:pathLst>
                <a:path w="2577878" h="1320905">
                  <a:moveTo>
                    <a:pt x="2577667" y="330305"/>
                  </a:moveTo>
                  <a:cubicBezTo>
                    <a:pt x="2480860" y="330305"/>
                    <a:pt x="2388187" y="369541"/>
                    <a:pt x="2320810" y="439052"/>
                  </a:cubicBezTo>
                  <a:lnTo>
                    <a:pt x="1766040" y="1011395"/>
                  </a:lnTo>
                  <a:cubicBezTo>
                    <a:pt x="1574275" y="1209235"/>
                    <a:pt x="1310513" y="1320905"/>
                    <a:pt x="1034987" y="1320905"/>
                  </a:cubicBezTo>
                  <a:lnTo>
                    <a:pt x="0" y="1320905"/>
                  </a:lnTo>
                  <a:lnTo>
                    <a:pt x="0" y="1320425"/>
                  </a:lnTo>
                  <a:lnTo>
                    <a:pt x="212825" y="990705"/>
                  </a:lnTo>
                  <a:lnTo>
                    <a:pt x="0" y="660986"/>
                  </a:lnTo>
                  <a:lnTo>
                    <a:pt x="0" y="660505"/>
                  </a:lnTo>
                  <a:lnTo>
                    <a:pt x="1034987" y="660505"/>
                  </a:lnTo>
                  <a:cubicBezTo>
                    <a:pt x="1131794" y="660505"/>
                    <a:pt x="1224467" y="621270"/>
                    <a:pt x="1291844" y="551759"/>
                  </a:cubicBezTo>
                  <a:lnTo>
                    <a:pt x="1826662" y="0"/>
                  </a:lnTo>
                  <a:lnTo>
                    <a:pt x="1846923" y="20897"/>
                  </a:lnTo>
                  <a:cubicBezTo>
                    <a:pt x="2038682" y="218675"/>
                    <a:pt x="2302401" y="330305"/>
                    <a:pt x="2577878" y="330305"/>
                  </a:cubicBezTo>
                  <a:close/>
                </a:path>
              </a:pathLst>
            </a:custGeom>
            <a:noFill/>
            <a:ln w="10318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646647-75D3-A136-13F0-6A19BBC4F8E6}"/>
              </a:ext>
            </a:extLst>
          </p:cNvPr>
          <p:cNvGrpSpPr/>
          <p:nvPr/>
        </p:nvGrpSpPr>
        <p:grpSpPr>
          <a:xfrm>
            <a:off x="7009029" y="2889198"/>
            <a:ext cx="1827092" cy="660400"/>
            <a:chOff x="1733550" y="2808261"/>
            <a:chExt cx="1827092" cy="660400"/>
          </a:xfrm>
        </p:grpSpPr>
        <p:sp>
          <p:nvSpPr>
            <p:cNvPr id="32" name="Rounded Rectangle 7">
              <a:extLst>
                <a:ext uri="{FF2B5EF4-FFF2-40B4-BE49-F238E27FC236}">
                  <a16:creationId xmlns:a16="http://schemas.microsoft.com/office/drawing/2014/main" id="{376424A7-DCD4-CB0E-8587-A491534A5971}"/>
                </a:ext>
              </a:extLst>
            </p:cNvPr>
            <p:cNvSpPr/>
            <p:nvPr/>
          </p:nvSpPr>
          <p:spPr>
            <a:xfrm>
              <a:off x="1733550" y="2808261"/>
              <a:ext cx="1827092" cy="660400"/>
            </a:xfrm>
            <a:custGeom>
              <a:avLst/>
              <a:gdLst/>
              <a:ahLst/>
              <a:cxnLst/>
              <a:rect l="0" t="0" r="0" b="0"/>
              <a:pathLst>
                <a:path w="1827092" h="660400">
                  <a:moveTo>
                    <a:pt x="0" y="660397"/>
                  </a:moveTo>
                  <a:lnTo>
                    <a:pt x="213254" y="330200"/>
                  </a:lnTo>
                  <a:lnTo>
                    <a:pt x="0" y="2"/>
                  </a:lnTo>
                  <a:lnTo>
                    <a:pt x="1507046" y="0"/>
                  </a:lnTo>
                  <a:lnTo>
                    <a:pt x="1827092" y="330094"/>
                  </a:lnTo>
                  <a:lnTo>
                    <a:pt x="1506929" y="660400"/>
                  </a:lnTo>
                  <a:close/>
                </a:path>
              </a:pathLst>
            </a:custGeom>
            <a:solidFill>
              <a:srgbClr val="BA5DE5"/>
            </a:solidFill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3" name="Rounded Rectangle 8">
              <a:extLst>
                <a:ext uri="{FF2B5EF4-FFF2-40B4-BE49-F238E27FC236}">
                  <a16:creationId xmlns:a16="http://schemas.microsoft.com/office/drawing/2014/main" id="{1FA0C274-0A28-4155-DF23-0B7B69C1DE4C}"/>
                </a:ext>
              </a:extLst>
            </p:cNvPr>
            <p:cNvSpPr/>
            <p:nvPr/>
          </p:nvSpPr>
          <p:spPr>
            <a:xfrm>
              <a:off x="1733550" y="2808261"/>
              <a:ext cx="1827090" cy="660400"/>
            </a:xfrm>
            <a:custGeom>
              <a:avLst/>
              <a:gdLst/>
              <a:ahLst/>
              <a:cxnLst/>
              <a:rect l="0" t="0" r="0" b="0"/>
              <a:pathLst>
                <a:path w="1827090" h="660400">
                  <a:moveTo>
                    <a:pt x="0" y="660397"/>
                  </a:moveTo>
                  <a:lnTo>
                    <a:pt x="213254" y="330200"/>
                  </a:lnTo>
                  <a:lnTo>
                    <a:pt x="0" y="2"/>
                  </a:lnTo>
                  <a:lnTo>
                    <a:pt x="1507043" y="0"/>
                  </a:lnTo>
                  <a:lnTo>
                    <a:pt x="1827090" y="330094"/>
                  </a:lnTo>
                  <a:lnTo>
                    <a:pt x="1506926" y="660400"/>
                  </a:lnTo>
                  <a:close/>
                </a:path>
              </a:pathLst>
            </a:custGeom>
            <a:noFill/>
            <a:ln w="10318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4710FA7-4DA2-2BF2-D88B-10669C7E5A8B}"/>
              </a:ext>
            </a:extLst>
          </p:cNvPr>
          <p:cNvGrpSpPr/>
          <p:nvPr/>
        </p:nvGrpSpPr>
        <p:grpSpPr>
          <a:xfrm>
            <a:off x="6927753" y="1916738"/>
            <a:ext cx="3184594" cy="1651000"/>
            <a:chOff x="1733591" y="1817661"/>
            <a:chExt cx="3184594" cy="1651000"/>
          </a:xfrm>
        </p:grpSpPr>
        <p:sp>
          <p:nvSpPr>
            <p:cNvPr id="30" name="Rounded Rectangle 10">
              <a:extLst>
                <a:ext uri="{FF2B5EF4-FFF2-40B4-BE49-F238E27FC236}">
                  <a16:creationId xmlns:a16="http://schemas.microsoft.com/office/drawing/2014/main" id="{833AD4C4-29D0-ABD5-3BEE-E9930B6F2312}"/>
                </a:ext>
              </a:extLst>
            </p:cNvPr>
            <p:cNvSpPr/>
            <p:nvPr/>
          </p:nvSpPr>
          <p:spPr>
            <a:xfrm>
              <a:off x="1733591" y="1817661"/>
              <a:ext cx="3184593" cy="1651000"/>
            </a:xfrm>
            <a:custGeom>
              <a:avLst/>
              <a:gdLst/>
              <a:ahLst/>
              <a:cxnLst/>
              <a:rect l="0" t="0" r="0" b="0"/>
              <a:pathLst>
                <a:path w="3184593" h="1651000">
                  <a:moveTo>
                    <a:pt x="0" y="660349"/>
                  </a:moveTo>
                  <a:lnTo>
                    <a:pt x="213210" y="33020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1035431" y="0"/>
                  </a:lnTo>
                  <a:cubicBezTo>
                    <a:pt x="1310907" y="0"/>
                    <a:pt x="1574627" y="111630"/>
                    <a:pt x="1766384" y="309409"/>
                  </a:cubicBezTo>
                  <a:lnTo>
                    <a:pt x="2321443" y="881888"/>
                  </a:lnTo>
                  <a:cubicBezTo>
                    <a:pt x="2388818" y="951374"/>
                    <a:pt x="2481473" y="990600"/>
                    <a:pt x="2578263" y="990600"/>
                  </a:cubicBezTo>
                  <a:lnTo>
                    <a:pt x="2864485" y="990600"/>
                  </a:lnTo>
                  <a:lnTo>
                    <a:pt x="3184593" y="1320820"/>
                  </a:lnTo>
                  <a:lnTo>
                    <a:pt x="2864512" y="1651000"/>
                  </a:lnTo>
                  <a:lnTo>
                    <a:pt x="2578263" y="1651000"/>
                  </a:lnTo>
                  <a:cubicBezTo>
                    <a:pt x="2302787" y="1651000"/>
                    <a:pt x="2039067" y="1539371"/>
                    <a:pt x="1847310" y="1341588"/>
                  </a:cubicBezTo>
                  <a:lnTo>
                    <a:pt x="1292251" y="769111"/>
                  </a:lnTo>
                  <a:cubicBezTo>
                    <a:pt x="1224876" y="699625"/>
                    <a:pt x="1132221" y="660400"/>
                    <a:pt x="1035431" y="660400"/>
                  </a:cubicBezTo>
                  <a:lnTo>
                    <a:pt x="0" y="660400"/>
                  </a:lnTo>
                  <a:close/>
                </a:path>
              </a:pathLst>
            </a:custGeom>
            <a:solidFill>
              <a:srgbClr val="A455C9"/>
            </a:solidFill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31" name="Rounded Rectangle 11">
              <a:extLst>
                <a:ext uri="{FF2B5EF4-FFF2-40B4-BE49-F238E27FC236}">
                  <a16:creationId xmlns:a16="http://schemas.microsoft.com/office/drawing/2014/main" id="{E01A44BD-18D4-EC09-8A91-9C34F38CB1D0}"/>
                </a:ext>
              </a:extLst>
            </p:cNvPr>
            <p:cNvSpPr/>
            <p:nvPr/>
          </p:nvSpPr>
          <p:spPr>
            <a:xfrm>
              <a:off x="1733591" y="1817661"/>
              <a:ext cx="3184594" cy="1651000"/>
            </a:xfrm>
            <a:custGeom>
              <a:avLst/>
              <a:gdLst/>
              <a:ahLst/>
              <a:cxnLst/>
              <a:rect l="0" t="0" r="0" b="0"/>
              <a:pathLst>
                <a:path w="3184594" h="1651000">
                  <a:moveTo>
                    <a:pt x="0" y="660349"/>
                  </a:moveTo>
                  <a:lnTo>
                    <a:pt x="213210" y="33020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1035430" y="0"/>
                  </a:lnTo>
                  <a:cubicBezTo>
                    <a:pt x="1310907" y="0"/>
                    <a:pt x="1574626" y="111630"/>
                    <a:pt x="1766385" y="309409"/>
                  </a:cubicBezTo>
                  <a:lnTo>
                    <a:pt x="2321440" y="881889"/>
                  </a:lnTo>
                  <a:cubicBezTo>
                    <a:pt x="2388815" y="951378"/>
                    <a:pt x="2481473" y="990600"/>
                    <a:pt x="2578262" y="990600"/>
                  </a:cubicBezTo>
                  <a:lnTo>
                    <a:pt x="2864482" y="990600"/>
                  </a:lnTo>
                  <a:lnTo>
                    <a:pt x="3184594" y="1320819"/>
                  </a:lnTo>
                  <a:lnTo>
                    <a:pt x="2864514" y="1651000"/>
                  </a:lnTo>
                  <a:lnTo>
                    <a:pt x="2578262" y="1651000"/>
                  </a:lnTo>
                  <a:cubicBezTo>
                    <a:pt x="2302785" y="1651000"/>
                    <a:pt x="2039066" y="1539369"/>
                    <a:pt x="1847308" y="1341590"/>
                  </a:cubicBezTo>
                  <a:lnTo>
                    <a:pt x="1292252" y="769111"/>
                  </a:lnTo>
                  <a:cubicBezTo>
                    <a:pt x="1224877" y="699621"/>
                    <a:pt x="1132219" y="660400"/>
                    <a:pt x="1035430" y="660400"/>
                  </a:cubicBezTo>
                  <a:lnTo>
                    <a:pt x="0" y="660400"/>
                  </a:lnTo>
                  <a:close/>
                </a:path>
              </a:pathLst>
            </a:custGeom>
            <a:noFill/>
            <a:ln w="10318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D95098-ED99-070F-6C03-363D69AB8A4E}"/>
              </a:ext>
            </a:extLst>
          </p:cNvPr>
          <p:cNvGrpSpPr/>
          <p:nvPr/>
        </p:nvGrpSpPr>
        <p:grpSpPr>
          <a:xfrm>
            <a:off x="6941511" y="900020"/>
            <a:ext cx="4912875" cy="2613668"/>
            <a:chOff x="1733978" y="827061"/>
            <a:chExt cx="5372202" cy="2641600"/>
          </a:xfrm>
        </p:grpSpPr>
        <p:sp>
          <p:nvSpPr>
            <p:cNvPr id="28" name="Rounded Rectangle 13">
              <a:extLst>
                <a:ext uri="{FF2B5EF4-FFF2-40B4-BE49-F238E27FC236}">
                  <a16:creationId xmlns:a16="http://schemas.microsoft.com/office/drawing/2014/main" id="{1FBF85EE-164F-7B15-9679-AE3F3D09264F}"/>
                </a:ext>
              </a:extLst>
            </p:cNvPr>
            <p:cNvSpPr/>
            <p:nvPr/>
          </p:nvSpPr>
          <p:spPr>
            <a:xfrm>
              <a:off x="1733978" y="827061"/>
              <a:ext cx="5372202" cy="2641600"/>
            </a:xfrm>
            <a:custGeom>
              <a:avLst/>
              <a:gdLst/>
              <a:ahLst/>
              <a:cxnLst/>
              <a:rect l="0" t="0" r="0" b="0"/>
              <a:pathLst>
                <a:path w="5372202" h="2641600">
                  <a:moveTo>
                    <a:pt x="0" y="659919"/>
                  </a:moveTo>
                  <a:lnTo>
                    <a:pt x="212825" y="330200"/>
                  </a:lnTo>
                  <a:lnTo>
                    <a:pt x="0" y="480"/>
                  </a:lnTo>
                  <a:lnTo>
                    <a:pt x="0" y="0"/>
                  </a:lnTo>
                  <a:lnTo>
                    <a:pt x="1068252" y="0"/>
                  </a:lnTo>
                  <a:cubicBezTo>
                    <a:pt x="1576457" y="0"/>
                    <a:pt x="2062965" y="205960"/>
                    <a:pt x="2416685" y="570855"/>
                  </a:cubicBezTo>
                  <a:lnTo>
                    <a:pt x="3736501" y="1932344"/>
                  </a:lnTo>
                  <a:cubicBezTo>
                    <a:pt x="3766777" y="1963575"/>
                    <a:pt x="3808409" y="1981200"/>
                    <a:pt x="3851906" y="1981200"/>
                  </a:cubicBezTo>
                  <a:lnTo>
                    <a:pt x="5158948" y="1981200"/>
                  </a:lnTo>
                  <a:lnTo>
                    <a:pt x="5372202" y="2311400"/>
                  </a:lnTo>
                  <a:lnTo>
                    <a:pt x="5158948" y="2641600"/>
                  </a:lnTo>
                  <a:lnTo>
                    <a:pt x="3851906" y="2641600"/>
                  </a:lnTo>
                  <a:cubicBezTo>
                    <a:pt x="3629702" y="2641600"/>
                    <a:pt x="3416985" y="2551544"/>
                    <a:pt x="3262327" y="2392003"/>
                  </a:cubicBezTo>
                  <a:lnTo>
                    <a:pt x="1942511" y="1030512"/>
                  </a:lnTo>
                  <a:cubicBezTo>
                    <a:pt x="1713173" y="793938"/>
                    <a:pt x="1397750" y="660400"/>
                    <a:pt x="1068252" y="660400"/>
                  </a:cubicBezTo>
                  <a:lnTo>
                    <a:pt x="0" y="660400"/>
                  </a:lnTo>
                  <a:close/>
                </a:path>
              </a:pathLst>
            </a:custGeom>
            <a:solidFill>
              <a:srgbClr val="78478F"/>
            </a:solidFill>
            <a:ln>
              <a:noFill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9" name="Rounded Rectangle 14">
              <a:extLst>
                <a:ext uri="{FF2B5EF4-FFF2-40B4-BE49-F238E27FC236}">
                  <a16:creationId xmlns:a16="http://schemas.microsoft.com/office/drawing/2014/main" id="{30B3F56E-8179-D86D-F4EE-0E80831AB7DC}"/>
                </a:ext>
              </a:extLst>
            </p:cNvPr>
            <p:cNvSpPr/>
            <p:nvPr/>
          </p:nvSpPr>
          <p:spPr>
            <a:xfrm>
              <a:off x="1733978" y="827061"/>
              <a:ext cx="5372200" cy="2641600"/>
            </a:xfrm>
            <a:custGeom>
              <a:avLst/>
              <a:gdLst/>
              <a:ahLst/>
              <a:cxnLst/>
              <a:rect l="0" t="0" r="0" b="0"/>
              <a:pathLst>
                <a:path w="5372200" h="2641600">
                  <a:moveTo>
                    <a:pt x="0" y="659919"/>
                  </a:moveTo>
                  <a:lnTo>
                    <a:pt x="212825" y="330200"/>
                  </a:lnTo>
                  <a:lnTo>
                    <a:pt x="0" y="480"/>
                  </a:lnTo>
                  <a:lnTo>
                    <a:pt x="0" y="0"/>
                  </a:lnTo>
                  <a:lnTo>
                    <a:pt x="1068254" y="0"/>
                  </a:lnTo>
                  <a:cubicBezTo>
                    <a:pt x="1576456" y="0"/>
                    <a:pt x="2062963" y="205960"/>
                    <a:pt x="2416688" y="570855"/>
                  </a:cubicBezTo>
                  <a:lnTo>
                    <a:pt x="3736501" y="1932344"/>
                  </a:lnTo>
                  <a:cubicBezTo>
                    <a:pt x="3766774" y="1963573"/>
                    <a:pt x="3808411" y="1981200"/>
                    <a:pt x="3851904" y="1981200"/>
                  </a:cubicBezTo>
                  <a:lnTo>
                    <a:pt x="5158945" y="1981200"/>
                  </a:lnTo>
                  <a:lnTo>
                    <a:pt x="5372200" y="2311400"/>
                  </a:lnTo>
                  <a:lnTo>
                    <a:pt x="5158945" y="2641599"/>
                  </a:lnTo>
                  <a:lnTo>
                    <a:pt x="3851904" y="2641600"/>
                  </a:lnTo>
                  <a:cubicBezTo>
                    <a:pt x="3629702" y="2641600"/>
                    <a:pt x="3416987" y="2551547"/>
                    <a:pt x="3262327" y="2392003"/>
                  </a:cubicBezTo>
                  <a:lnTo>
                    <a:pt x="1942513" y="1030514"/>
                  </a:lnTo>
                  <a:cubicBezTo>
                    <a:pt x="1713175" y="793934"/>
                    <a:pt x="1397748" y="660400"/>
                    <a:pt x="1068254" y="660400"/>
                  </a:cubicBezTo>
                  <a:lnTo>
                    <a:pt x="0" y="660400"/>
                  </a:lnTo>
                  <a:close/>
                </a:path>
              </a:pathLst>
            </a:custGeom>
            <a:noFill/>
            <a:ln w="10318">
              <a:solidFill>
                <a:srgbClr val="FFFFFF"/>
              </a:solidFill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11" name="TextBox 16">
            <a:extLst>
              <a:ext uri="{FF2B5EF4-FFF2-40B4-BE49-F238E27FC236}">
                <a16:creationId xmlns:a16="http://schemas.microsoft.com/office/drawing/2014/main" id="{3E3D52FF-CC32-208F-BBE5-CCFAEB32F21B}"/>
              </a:ext>
            </a:extLst>
          </p:cNvPr>
          <p:cNvSpPr txBox="1"/>
          <p:nvPr/>
        </p:nvSpPr>
        <p:spPr>
          <a:xfrm>
            <a:off x="7364524" y="1107827"/>
            <a:ext cx="1021556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1000" b="1">
                <a:solidFill>
                  <a:srgbClr val="FFFFFF"/>
                </a:solidFill>
                <a:latin typeface="Roboto"/>
              </a:rPr>
              <a:t>Playwright and
JavaScript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EE3D0203-F0BE-4E4C-55CC-5909B7386817}"/>
              </a:ext>
            </a:extLst>
          </p:cNvPr>
          <p:cNvSpPr txBox="1"/>
          <p:nvPr/>
        </p:nvSpPr>
        <p:spPr>
          <a:xfrm>
            <a:off x="5915423" y="1974438"/>
            <a:ext cx="969962" cy="6924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 dirty="0">
                <a:solidFill>
                  <a:srgbClr val="484848"/>
                </a:solidFill>
                <a:latin typeface="Roboto"/>
              </a:rPr>
              <a:t>Covers CRM Fiber,
MC-Sales,
</a:t>
            </a:r>
            <a:r>
              <a:rPr sz="900" b="1" dirty="0" err="1">
                <a:solidFill>
                  <a:srgbClr val="484848"/>
                </a:solidFill>
                <a:latin typeface="Roboto"/>
              </a:rPr>
              <a:t>SalesEnabler</a:t>
            </a:r>
            <a:r>
              <a:rPr sz="900" b="1" dirty="0">
                <a:solidFill>
                  <a:srgbClr val="484848"/>
                </a:solidFill>
                <a:latin typeface="Roboto"/>
              </a:rPr>
              <a:t>
modules
comprehensively.</a:t>
            </a: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D56F9910-B07F-8F2C-1E81-8071E5FEBC2A}"/>
              </a:ext>
            </a:extLst>
          </p:cNvPr>
          <p:cNvSpPr txBox="1"/>
          <p:nvPr/>
        </p:nvSpPr>
        <p:spPr>
          <a:xfrm>
            <a:off x="7266496" y="2148791"/>
            <a:ext cx="608806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1000" b="1" dirty="0">
                <a:solidFill>
                  <a:srgbClr val="FFFFFF"/>
                </a:solidFill>
                <a:latin typeface="Roboto"/>
              </a:rPr>
              <a:t>Essential
Modules</a:t>
            </a:r>
          </a:p>
        </p:txBody>
      </p:sp>
      <p:sp>
        <p:nvSpPr>
          <p:cNvPr id="16" name="TextBox 21">
            <a:extLst>
              <a:ext uri="{FF2B5EF4-FFF2-40B4-BE49-F238E27FC236}">
                <a16:creationId xmlns:a16="http://schemas.microsoft.com/office/drawing/2014/main" id="{0CB137EE-F837-8316-2B07-57534F82B198}"/>
              </a:ext>
            </a:extLst>
          </p:cNvPr>
          <p:cNvSpPr txBox="1"/>
          <p:nvPr/>
        </p:nvSpPr>
        <p:spPr>
          <a:xfrm>
            <a:off x="5920582" y="3013740"/>
            <a:ext cx="93900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 dirty="0">
                <a:solidFill>
                  <a:srgbClr val="484848"/>
                </a:solidFill>
                <a:latin typeface="Roboto"/>
              </a:rPr>
              <a:t>Integrates with CI
pipeline for
automated test
execution.</a:t>
            </a:r>
          </a:p>
        </p:txBody>
      </p:sp>
      <p:sp>
        <p:nvSpPr>
          <p:cNvPr id="17" name="TextBox 22">
            <a:extLst>
              <a:ext uri="{FF2B5EF4-FFF2-40B4-BE49-F238E27FC236}">
                <a16:creationId xmlns:a16="http://schemas.microsoft.com/office/drawing/2014/main" id="{68CCB066-FD22-D7E6-A7EE-81104DAFA917}"/>
              </a:ext>
            </a:extLst>
          </p:cNvPr>
          <p:cNvSpPr txBox="1"/>
          <p:nvPr/>
        </p:nvSpPr>
        <p:spPr>
          <a:xfrm>
            <a:off x="5910264" y="984716"/>
            <a:ext cx="990600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 dirty="0">
                <a:solidFill>
                  <a:srgbClr val="484848"/>
                </a:solidFill>
                <a:latin typeface="Roboto"/>
              </a:rPr>
              <a:t>Utilizes Playwright
and JavaScript for
test suite
development.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C533C954-BEBE-7FF6-5E3E-4BDCE395F31C}"/>
              </a:ext>
            </a:extLst>
          </p:cNvPr>
          <p:cNvSpPr txBox="1"/>
          <p:nvPr/>
        </p:nvSpPr>
        <p:spPr>
          <a:xfrm>
            <a:off x="7293100" y="3105888"/>
            <a:ext cx="7429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1000" b="1" dirty="0">
                <a:solidFill>
                  <a:srgbClr val="FFFFFF"/>
                </a:solidFill>
                <a:latin typeface="Roboto"/>
              </a:rPr>
              <a:t>CI Pipeline
Integration</a:t>
            </a:r>
          </a:p>
        </p:txBody>
      </p:sp>
      <p:sp>
        <p:nvSpPr>
          <p:cNvPr id="20" name="TextBox 25">
            <a:extLst>
              <a:ext uri="{FF2B5EF4-FFF2-40B4-BE49-F238E27FC236}">
                <a16:creationId xmlns:a16="http://schemas.microsoft.com/office/drawing/2014/main" id="{054A6CAD-4CF4-5DE8-9730-3CAE345E8591}"/>
              </a:ext>
            </a:extLst>
          </p:cNvPr>
          <p:cNvSpPr txBox="1"/>
          <p:nvPr/>
        </p:nvSpPr>
        <p:spPr>
          <a:xfrm>
            <a:off x="10272907" y="2946996"/>
            <a:ext cx="887412" cy="4616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sv-SE" sz="1000" b="1" dirty="0" err="1">
                <a:solidFill>
                  <a:schemeClr val="bg1"/>
                </a:solidFill>
                <a:latin typeface="Roboto"/>
              </a:rPr>
              <a:t>Continuous</a:t>
            </a:r>
            <a:r>
              <a:rPr lang="sv-SE" sz="1000" b="1" dirty="0">
                <a:solidFill>
                  <a:schemeClr val="bg1"/>
                </a:solidFill>
                <a:latin typeface="Roboto"/>
              </a:rPr>
              <a:t> </a:t>
            </a:r>
            <a:r>
              <a:rPr sz="1000" b="1" dirty="0">
                <a:solidFill>
                  <a:schemeClr val="bg1"/>
                </a:solidFill>
                <a:latin typeface="Roboto"/>
              </a:rPr>
              <a:t>
Application
</a:t>
            </a:r>
            <a:r>
              <a:rPr lang="sv-SE" sz="1000" b="1" dirty="0" err="1">
                <a:solidFill>
                  <a:schemeClr val="bg1"/>
                </a:solidFill>
                <a:latin typeface="Roboto"/>
              </a:rPr>
              <a:t>Testing</a:t>
            </a:r>
            <a:endParaRPr sz="1000" b="1" dirty="0">
              <a:solidFill>
                <a:schemeClr val="bg1"/>
              </a:solidFill>
              <a:latin typeface="Roboto"/>
            </a:endParaRP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7D56260D-F483-B29C-DE6E-91417C8CA56D}"/>
              </a:ext>
            </a:extLst>
          </p:cNvPr>
          <p:cNvSpPr txBox="1"/>
          <p:nvPr/>
        </p:nvSpPr>
        <p:spPr>
          <a:xfrm>
            <a:off x="7257048" y="5171477"/>
            <a:ext cx="98028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1000" b="1" dirty="0">
                <a:solidFill>
                  <a:srgbClr val="FFFFFF"/>
                </a:solidFill>
                <a:latin typeface="Roboto"/>
              </a:rPr>
              <a:t>Testing Types</a:t>
            </a: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D065BD38-1482-FD59-C9FA-BCF8447184BA}"/>
              </a:ext>
            </a:extLst>
          </p:cNvPr>
          <p:cNvSpPr txBox="1"/>
          <p:nvPr/>
        </p:nvSpPr>
        <p:spPr>
          <a:xfrm>
            <a:off x="5910263" y="4059114"/>
            <a:ext cx="959643" cy="4154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 dirty="0">
                <a:solidFill>
                  <a:srgbClr val="484848"/>
                </a:solidFill>
                <a:latin typeface="Roboto"/>
              </a:rPr>
              <a:t>Executes tests on
schedule and on-
demand flexibly.</a:t>
            </a:r>
          </a:p>
        </p:txBody>
      </p:sp>
      <p:sp>
        <p:nvSpPr>
          <p:cNvPr id="24" name="TextBox 30">
            <a:extLst>
              <a:ext uri="{FF2B5EF4-FFF2-40B4-BE49-F238E27FC236}">
                <a16:creationId xmlns:a16="http://schemas.microsoft.com/office/drawing/2014/main" id="{E05D4306-5ACF-570F-5F4B-154507A62802}"/>
              </a:ext>
            </a:extLst>
          </p:cNvPr>
          <p:cNvSpPr txBox="1"/>
          <p:nvPr/>
        </p:nvSpPr>
        <p:spPr>
          <a:xfrm>
            <a:off x="7158956" y="4112975"/>
            <a:ext cx="101123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1000" b="1" dirty="0">
                <a:solidFill>
                  <a:srgbClr val="FFFFFF"/>
                </a:solidFill>
                <a:latin typeface="Roboto"/>
              </a:rPr>
              <a:t>Test Execution
Flexibility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3A60C139-F239-4EF7-9AE1-8CC86B5161D8}"/>
              </a:ext>
            </a:extLst>
          </p:cNvPr>
          <p:cNvSpPr txBox="1"/>
          <p:nvPr/>
        </p:nvSpPr>
        <p:spPr>
          <a:xfrm>
            <a:off x="5879307" y="4971422"/>
            <a:ext cx="980281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sz="900" b="1" dirty="0">
                <a:solidFill>
                  <a:srgbClr val="484848"/>
                </a:solidFill>
                <a:latin typeface="Roboto"/>
              </a:rPr>
              <a:t>Conducts
regression, sanity,
and performance
testing effectively.</a:t>
            </a:r>
          </a:p>
        </p:txBody>
      </p:sp>
      <p:sp>
        <p:nvSpPr>
          <p:cNvPr id="27" name="Rounded Rectangle 33">
            <a:extLst>
              <a:ext uri="{FF2B5EF4-FFF2-40B4-BE49-F238E27FC236}">
                <a16:creationId xmlns:a16="http://schemas.microsoft.com/office/drawing/2014/main" id="{075CA1D0-80DE-5287-E7A5-88146C7B12E8}"/>
              </a:ext>
            </a:extLst>
          </p:cNvPr>
          <p:cNvSpPr/>
          <p:nvPr/>
        </p:nvSpPr>
        <p:spPr>
          <a:xfrm>
            <a:off x="11254706" y="3019607"/>
            <a:ext cx="316441" cy="316441"/>
          </a:xfrm>
          <a:custGeom>
            <a:avLst/>
            <a:gdLst/>
            <a:ahLst/>
            <a:cxnLst/>
            <a:rect l="0" t="0" r="0" b="0"/>
            <a:pathLst>
              <a:path w="316441" h="316441">
                <a:moveTo>
                  <a:pt x="103187" y="309562"/>
                </a:moveTo>
                <a:lnTo>
                  <a:pt x="130704" y="282045"/>
                </a:lnTo>
                <a:lnTo>
                  <a:pt x="103187" y="254529"/>
                </a:lnTo>
                <a:moveTo>
                  <a:pt x="206375" y="137583"/>
                </a:moveTo>
                <a:lnTo>
                  <a:pt x="316441" y="137583"/>
                </a:lnTo>
                <a:lnTo>
                  <a:pt x="316441" y="316441"/>
                </a:lnTo>
                <a:lnTo>
                  <a:pt x="206375" y="316441"/>
                </a:lnTo>
                <a:close/>
                <a:moveTo>
                  <a:pt x="130649" y="282045"/>
                </a:moveTo>
                <a:lnTo>
                  <a:pt x="116890" y="282045"/>
                </a:lnTo>
                <a:cubicBezTo>
                  <a:pt x="78898" y="282045"/>
                  <a:pt x="48099" y="251246"/>
                  <a:pt x="48099" y="213254"/>
                </a:cubicBezTo>
                <a:moveTo>
                  <a:pt x="261408" y="61912"/>
                </a:moveTo>
                <a:lnTo>
                  <a:pt x="233891" y="34395"/>
                </a:lnTo>
                <a:lnTo>
                  <a:pt x="261408" y="6879"/>
                </a:lnTo>
                <a:moveTo>
                  <a:pt x="233836" y="34395"/>
                </a:moveTo>
                <a:lnTo>
                  <a:pt x="247594" y="34395"/>
                </a:lnTo>
                <a:cubicBezTo>
                  <a:pt x="285587" y="34395"/>
                  <a:pt x="316386" y="65194"/>
                  <a:pt x="316386" y="103187"/>
                </a:cubicBezTo>
                <a:moveTo>
                  <a:pt x="316441" y="261408"/>
                </a:moveTo>
                <a:lnTo>
                  <a:pt x="206375" y="261408"/>
                </a:lnTo>
                <a:moveTo>
                  <a:pt x="261353" y="285485"/>
                </a:moveTo>
                <a:cubicBezTo>
                  <a:pt x="259453" y="285485"/>
                  <a:pt x="257913" y="287025"/>
                  <a:pt x="257913" y="288925"/>
                </a:cubicBezTo>
                <a:cubicBezTo>
                  <a:pt x="257913" y="290824"/>
                  <a:pt x="259453" y="292364"/>
                  <a:pt x="261353" y="292364"/>
                </a:cubicBezTo>
                <a:cubicBezTo>
                  <a:pt x="263252" y="292364"/>
                  <a:pt x="264792" y="290824"/>
                  <a:pt x="264792" y="288925"/>
                </a:cubicBezTo>
                <a:cubicBezTo>
                  <a:pt x="264792" y="287025"/>
                  <a:pt x="263252" y="285485"/>
                  <a:pt x="261353" y="285485"/>
                </a:cubicBezTo>
                <a:lnTo>
                  <a:pt x="261353" y="285485"/>
                </a:lnTo>
                <a:moveTo>
                  <a:pt x="0" y="0"/>
                </a:moveTo>
                <a:lnTo>
                  <a:pt x="178858" y="0"/>
                </a:lnTo>
                <a:lnTo>
                  <a:pt x="178858" y="137583"/>
                </a:lnTo>
                <a:lnTo>
                  <a:pt x="0" y="137583"/>
                </a:lnTo>
                <a:close/>
                <a:moveTo>
                  <a:pt x="0" y="41275"/>
                </a:moveTo>
                <a:lnTo>
                  <a:pt x="178858" y="41275"/>
                </a:lnTo>
                <a:moveTo>
                  <a:pt x="96308" y="68791"/>
                </a:moveTo>
                <a:lnTo>
                  <a:pt x="34395" y="68791"/>
                </a:lnTo>
                <a:moveTo>
                  <a:pt x="34395" y="96308"/>
                </a:moveTo>
                <a:lnTo>
                  <a:pt x="61912" y="96308"/>
                </a:lnTo>
              </a:path>
            </a:pathLst>
          </a:custGeom>
          <a:noFill/>
          <a:ln w="10318">
            <a:solidFill>
              <a:schemeClr val="bg1"/>
            </a:solidFill>
          </a:ln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5732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67DB9-FB53-773F-389E-261E42CA8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B87BBE-A5B8-AA98-B900-4EFB63E7D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B87BBE-A5B8-AA98-B900-4EFB63E7D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3EE7E2D-DE00-B54F-59D9-8B7622BE61DE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2BC635-9762-61AE-F27B-093103B45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4262" y="2055481"/>
            <a:ext cx="3231334" cy="465083"/>
          </a:xfrm>
        </p:spPr>
        <p:txBody>
          <a:bodyPr vert="horz"/>
          <a:lstStyle/>
          <a:p>
            <a:r>
              <a:rPr lang="sv-SE" sz="4000" b="1" dirty="0" err="1">
                <a:solidFill>
                  <a:schemeClr val="bg1"/>
                </a:solidFill>
                <a:latin typeface="+mj-lt"/>
              </a:rPr>
              <a:t>Current</a:t>
            </a:r>
            <a:r>
              <a:rPr lang="sv-SE" sz="4000" b="1" dirty="0">
                <a:solidFill>
                  <a:schemeClr val="bg1"/>
                </a:solidFill>
                <a:latin typeface="+mj-lt"/>
              </a:rPr>
              <a:t> Automation Test </a:t>
            </a:r>
            <a:r>
              <a:rPr lang="sv-SE" sz="4000" b="1" dirty="0" err="1">
                <a:solidFill>
                  <a:schemeClr val="bg1"/>
                </a:solidFill>
                <a:latin typeface="+mj-lt"/>
              </a:rPr>
              <a:t>Suite</a:t>
            </a:r>
            <a:r>
              <a:rPr lang="sv-SE" sz="4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sv-SE" sz="4000" b="1" dirty="0" err="1">
                <a:solidFill>
                  <a:schemeClr val="bg1"/>
                </a:solidFill>
                <a:latin typeface="+mj-lt"/>
              </a:rPr>
              <a:t>Structure</a:t>
            </a:r>
            <a:endParaRPr lang="sv-SE" sz="4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Picture 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60123F69-B54B-04FA-88B0-BFAF16B18D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6648" y="65940"/>
            <a:ext cx="3671812" cy="37419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AEBA41-A3C2-C2E5-FB3A-095B04720B25}"/>
              </a:ext>
            </a:extLst>
          </p:cNvPr>
          <p:cNvSpPr txBox="1"/>
          <p:nvPr/>
        </p:nvSpPr>
        <p:spPr>
          <a:xfrm>
            <a:off x="6458745" y="4087503"/>
            <a:ext cx="5287617" cy="2672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US" sz="1600" b="1" dirty="0">
                <a:effectLst/>
              </a:rPr>
              <a:t>GitHub</a:t>
            </a:r>
            <a:r>
              <a:rPr lang="en-US" sz="1600" b="0" dirty="0">
                <a:effectLst/>
              </a:rPr>
              <a:t>: Manages workflow configurations to control execution within CI/CD pipelines.</a:t>
            </a:r>
          </a:p>
          <a:p>
            <a:pPr>
              <a:lnSpc>
                <a:spcPts val="1425"/>
              </a:lnSpc>
            </a:pPr>
            <a:br>
              <a:rPr lang="en-US" sz="1600" b="0" dirty="0">
                <a:effectLst/>
              </a:rPr>
            </a:br>
            <a:r>
              <a:rPr lang="en-US" sz="1600" b="1" dirty="0" err="1">
                <a:effectLst/>
              </a:rPr>
              <a:t>PageObjects</a:t>
            </a:r>
            <a:r>
              <a:rPr lang="en-US" sz="1600" b="0" dirty="0">
                <a:effectLst/>
              </a:rPr>
              <a:t>: Contains all page object classes, which define UI element locators.</a:t>
            </a:r>
          </a:p>
          <a:p>
            <a:pPr>
              <a:lnSpc>
                <a:spcPts val="1425"/>
              </a:lnSpc>
            </a:pPr>
            <a:br>
              <a:rPr lang="en-US" sz="1600" b="0" dirty="0">
                <a:effectLst/>
              </a:rPr>
            </a:br>
            <a:r>
              <a:rPr lang="en-US" sz="1600" b="1" dirty="0">
                <a:effectLst/>
              </a:rPr>
              <a:t>Utilities</a:t>
            </a:r>
            <a:r>
              <a:rPr lang="en-US" sz="1600" b="0" dirty="0">
                <a:effectLst/>
              </a:rPr>
              <a:t>: Stores reusable helper functions and generic logic.</a:t>
            </a:r>
          </a:p>
          <a:p>
            <a:pPr>
              <a:lnSpc>
                <a:spcPts val="1425"/>
              </a:lnSpc>
            </a:pPr>
            <a:br>
              <a:rPr lang="en-US" sz="1600" b="0" dirty="0">
                <a:effectLst/>
              </a:rPr>
            </a:br>
            <a:r>
              <a:rPr lang="en-US" sz="1600" b="1" dirty="0">
                <a:effectLst/>
              </a:rPr>
              <a:t>Resources</a:t>
            </a:r>
            <a:r>
              <a:rPr lang="en-US" sz="1600" b="0" dirty="0">
                <a:effectLst/>
              </a:rPr>
              <a:t>: Serves as a repository for test data and configuration files.</a:t>
            </a:r>
          </a:p>
          <a:p>
            <a:pPr>
              <a:lnSpc>
                <a:spcPts val="1425"/>
              </a:lnSpc>
            </a:pPr>
            <a:br>
              <a:rPr lang="en-US" sz="1600" b="0" dirty="0">
                <a:effectLst/>
              </a:rPr>
            </a:br>
            <a:r>
              <a:rPr lang="en-US" sz="1600" b="1" dirty="0">
                <a:effectLst/>
              </a:rPr>
              <a:t>Tests</a:t>
            </a:r>
            <a:r>
              <a:rPr lang="en-US" sz="1600" b="0" dirty="0">
                <a:effectLst/>
              </a:rPr>
              <a:t>: Includes the actual test cases that are executed during automation runs.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endParaRPr lang="en-US" sz="1600" b="0" strike="noStrike" spc="-1" dirty="0"/>
          </a:p>
        </p:txBody>
      </p:sp>
    </p:spTree>
    <p:extLst>
      <p:ext uri="{BB962C8B-B14F-4D97-AF65-F5344CB8AC3E}">
        <p14:creationId xmlns:p14="http://schemas.microsoft.com/office/powerpoint/2010/main" val="27319996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D7AFE-5D26-BB15-39A4-EBE75869B5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2798" y="2499231"/>
            <a:ext cx="3190093" cy="629194"/>
          </a:xfrm>
        </p:spPr>
        <p:txBody>
          <a:bodyPr anchor="t">
            <a:noAutofit/>
          </a:bodyPr>
          <a:lstStyle/>
          <a:p>
            <a:r>
              <a:rPr lang="en" sz="4000" b="1" strike="noStrike" spc="-1" dirty="0">
                <a:solidFill>
                  <a:schemeClr val="bg1"/>
                </a:solidFill>
                <a:ea typeface="Outfit"/>
              </a:rPr>
              <a:t>Integration Strategy</a:t>
            </a:r>
            <a:endParaRPr lang="en-US" sz="4000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52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95204967-1764-E086-A616-66B6451162F9}"/>
              </a:ext>
            </a:extLst>
          </p:cNvPr>
          <p:cNvSpPr txBox="1"/>
          <p:nvPr/>
        </p:nvSpPr>
        <p:spPr>
          <a:xfrm>
            <a:off x="7166610" y="320257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1004564C-E025-96B3-AA3E-2C8B5221DABC}"/>
              </a:ext>
            </a:extLst>
          </p:cNvPr>
          <p:cNvSpPr txBox="1"/>
          <p:nvPr/>
        </p:nvSpPr>
        <p:spPr>
          <a:xfrm>
            <a:off x="7867651" y="320665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2D48591-F703-B6FD-DE34-13A29DB41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762" y="1370488"/>
            <a:ext cx="6196530" cy="3833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68699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FF7FBF-05D8-7CAF-0978-B60C91EFC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E0D57-8F1F-48CD-4149-D1786B5343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8745" y="2490994"/>
            <a:ext cx="3190093" cy="629194"/>
          </a:xfrm>
        </p:spPr>
        <p:txBody>
          <a:bodyPr anchor="t">
            <a:noAutofit/>
          </a:bodyPr>
          <a:lstStyle/>
          <a:p>
            <a:pPr>
              <a:spcAft>
                <a:spcPts val="400"/>
              </a:spcAft>
            </a:pPr>
            <a:r>
              <a:rPr lang="en-US" sz="4000" b="1" strike="noStrike" spc="-1" dirty="0">
                <a:solidFill>
                  <a:schemeClr val="bg1"/>
                </a:solidFill>
                <a:latin typeface="+mj-lt"/>
              </a:rPr>
              <a:t>Modifications to folder structure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2AE56112-DA2F-33C3-41AA-FEA24CC7D2DC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52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79FD7339-7596-41C7-ADE4-8B6E1F080C3A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1D116F64-4708-7251-5F2D-95F60335E5E8}"/>
              </a:ext>
            </a:extLst>
          </p:cNvPr>
          <p:cNvSpPr txBox="1"/>
          <p:nvPr/>
        </p:nvSpPr>
        <p:spPr>
          <a:xfrm>
            <a:off x="7166610" y="320257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A972A54D-C5C5-C8E5-B69D-E92BC6115EFA}"/>
              </a:ext>
            </a:extLst>
          </p:cNvPr>
          <p:cNvSpPr txBox="1"/>
          <p:nvPr/>
        </p:nvSpPr>
        <p:spPr>
          <a:xfrm>
            <a:off x="7867651" y="320665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B0CCCAC-6545-C73A-73BB-1101F2B4E2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883" y="0"/>
            <a:ext cx="2520314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724745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F9E49F-5023-B18A-5C42-D5A02EA37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AE612-40C0-93CE-4659-9CA7567EDE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8745" y="2490994"/>
            <a:ext cx="3190093" cy="629194"/>
          </a:xfrm>
        </p:spPr>
        <p:txBody>
          <a:bodyPr anchor="t">
            <a:noAutofit/>
          </a:bodyPr>
          <a:lstStyle/>
          <a:p>
            <a:pPr>
              <a:spcAft>
                <a:spcPts val="400"/>
              </a:spcAft>
            </a:pPr>
            <a:r>
              <a:rPr lang="en" sz="4000" b="1" strike="noStrike" spc="-1" dirty="0">
                <a:solidFill>
                  <a:schemeClr val="bg1"/>
                </a:solidFill>
                <a:latin typeface="Outfit"/>
                <a:ea typeface="Outfit"/>
              </a:rPr>
              <a:t>CI/CD setup and reporting metrics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3219447B-38C2-F97D-4E0D-5003F0D9E203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3219447B-38C2-F97D-4E0D-5003F0D9E20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8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486D0CB6-110D-A47F-8BFD-E297708B17C2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486D0CB6-110D-A47F-8BFD-E297708B17C2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76A89ADB-8EE8-1719-216A-9C67632BCA9A}"/>
              </a:ext>
            </a:extLst>
          </p:cNvPr>
          <p:cNvSpPr txBox="1"/>
          <p:nvPr/>
        </p:nvSpPr>
        <p:spPr>
          <a:xfrm>
            <a:off x="7166610" y="320257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F685FBA8-7164-0A9D-11FC-A22470C45403}"/>
              </a:ext>
            </a:extLst>
          </p:cNvPr>
          <p:cNvSpPr txBox="1"/>
          <p:nvPr/>
        </p:nvSpPr>
        <p:spPr>
          <a:xfrm>
            <a:off x="7867651" y="320665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A69036-B5C1-BE9E-4982-1D21E8C5DDFE}"/>
              </a:ext>
            </a:extLst>
          </p:cNvPr>
          <p:cNvSpPr txBox="1"/>
          <p:nvPr/>
        </p:nvSpPr>
        <p:spPr>
          <a:xfrm>
            <a:off x="6565916" y="535820"/>
            <a:ext cx="4991075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I/CD setup utilizes GitHub Actions to automate the testing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s are triggered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eduled basi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n-demand ba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porting metrics are generated using Playwr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ports provide insights in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est execution statistic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ass rat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rends in test perform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elps in continuous improvement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7886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44889D-5FC4-4D60-BAE6-E20A40A276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44889D-5FC4-4D60-BAE6-E20A40A27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8F3B3CD-C1C9-43FF-8D29-3EF1E71A6B00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E1868F-E727-4A91-B865-B51CACBD34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27965" y="2870107"/>
            <a:ext cx="3231334" cy="465083"/>
          </a:xfrm>
        </p:spPr>
        <p:txBody>
          <a:bodyPr vert="horz"/>
          <a:lstStyle/>
          <a:p>
            <a:r>
              <a:rPr lang="en-GB" sz="4000" b="1" dirty="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666670-8E16-D8D8-EC1B-059F14DD67AB}"/>
              </a:ext>
            </a:extLst>
          </p:cNvPr>
          <p:cNvSpPr txBox="1"/>
          <p:nvPr/>
        </p:nvSpPr>
        <p:spPr>
          <a:xfrm>
            <a:off x="6032503" y="2779484"/>
            <a:ext cx="627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ransformation of B2B Services (from TOKA and SPOCK)  to Salesforce Communication Cloud (SFCC)</a:t>
            </a:r>
          </a:p>
        </p:txBody>
      </p:sp>
    </p:spTree>
    <p:extLst>
      <p:ext uri="{BB962C8B-B14F-4D97-AF65-F5344CB8AC3E}">
        <p14:creationId xmlns:p14="http://schemas.microsoft.com/office/powerpoint/2010/main" val="15068707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BCF27-7345-9C36-D773-C7901DB00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3CD12-452D-7CD1-9D20-0D1E9CD31D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2182" y="2911123"/>
            <a:ext cx="3190093" cy="629194"/>
          </a:xfrm>
        </p:spPr>
        <p:txBody>
          <a:bodyPr anchor="t">
            <a:noAutofit/>
          </a:bodyPr>
          <a:lstStyle/>
          <a:p>
            <a:pPr>
              <a:spcAft>
                <a:spcPts val="400"/>
              </a:spcAft>
            </a:pPr>
            <a:r>
              <a:rPr lang="en" sz="4000" b="1" strike="noStrike" spc="-1" dirty="0">
                <a:solidFill>
                  <a:schemeClr val="bg1"/>
                </a:solidFill>
                <a:latin typeface="Outfit"/>
                <a:ea typeface="Outfit"/>
              </a:rPr>
              <a:t>Test Execution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F3976782-F509-23CC-C902-7811EC0EC5A4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F3976782-F509-23CC-C902-7811EC0EC5A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8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65041494-6D5F-3A22-F6D5-8A048C1030AF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5041494-6D5F-3A22-F6D5-8A048C1030A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01E1BDF9-C2E0-E988-188D-03D42D42E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245" y="1229401"/>
            <a:ext cx="5431372" cy="415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2693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294368-28F5-B613-CB80-0085A751C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8B99C-F381-16B8-4879-944CFAF6BB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8745" y="2490994"/>
            <a:ext cx="3190093" cy="629194"/>
          </a:xfrm>
        </p:spPr>
        <p:txBody>
          <a:bodyPr anchor="t">
            <a:noAutofit/>
          </a:bodyPr>
          <a:lstStyle/>
          <a:p>
            <a:pPr>
              <a:spcAft>
                <a:spcPts val="400"/>
              </a:spcAft>
            </a:pPr>
            <a:r>
              <a:rPr lang="en" sz="4000" b="1" spc="-1" dirty="0">
                <a:solidFill>
                  <a:schemeClr val="bg1"/>
                </a:solidFill>
                <a:latin typeface="Outfit"/>
              </a:rPr>
              <a:t>Test automation integrations with cross teams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A105C137-0006-1681-5B8A-47F3BE1E0827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A105C137-0006-1681-5B8A-47F3BE1E0827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8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4293CF41-FA89-23E0-EDDC-BFEBD2B45309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4293CF41-FA89-23E0-EDDC-BFEBD2B45309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5D896AF7-CC58-4916-A8E5-812457C96497}"/>
              </a:ext>
            </a:extLst>
          </p:cNvPr>
          <p:cNvSpPr txBox="1"/>
          <p:nvPr/>
        </p:nvSpPr>
        <p:spPr>
          <a:xfrm>
            <a:off x="7166610" y="320257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E2935053-A65A-B604-C54E-8B23B961643C}"/>
              </a:ext>
            </a:extLst>
          </p:cNvPr>
          <p:cNvSpPr txBox="1"/>
          <p:nvPr/>
        </p:nvSpPr>
        <p:spPr>
          <a:xfrm>
            <a:off x="7867651" y="320665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45F6A7E9-CB25-3A2F-FF75-CBAEECE8A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114" y="1427777"/>
            <a:ext cx="6285470" cy="3729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52738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67DB9-FB53-773F-389E-261E42CA83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B87BBE-A5B8-AA98-B900-4EFB63E7D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1D6BE0-202F-5E53-64EE-32F4A88FE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3EE7E2D-DE00-B54F-59D9-8B7622BE61DE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2BC635-9762-61AE-F27B-093103B45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3540" y="2828367"/>
            <a:ext cx="3231334" cy="465083"/>
          </a:xfrm>
        </p:spPr>
        <p:txBody>
          <a:bodyPr vert="horz"/>
          <a:lstStyle/>
          <a:p>
            <a:r>
              <a:rPr lang="sv-SE" sz="4000" b="1" dirty="0">
                <a:solidFill>
                  <a:schemeClr val="bg1"/>
                </a:solidFill>
                <a:latin typeface="+mj-lt"/>
              </a:rPr>
              <a:t>Timeline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33225716-21FD-3FBD-2676-4E1E97FAD4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2774" y="1722890"/>
            <a:ext cx="5344886" cy="3672880"/>
          </a:xfrm>
        </p:spPr>
        <p:txBody>
          <a:bodyPr/>
          <a:lstStyle/>
          <a:p>
            <a:r>
              <a:rPr lang="en-IN" dirty="0"/>
              <a:t>Get from Prasha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FD2586-4058-D3DE-47FF-7A7D908051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9227" y="254000"/>
            <a:ext cx="5731510" cy="31261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A66F8C-852B-B958-BBC4-75A6E3078E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1127" y="3429000"/>
            <a:ext cx="5731510" cy="31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305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86F6A-1D58-983C-86C0-44C9A8E49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DF8FA-ACEB-E667-7DA9-B4C34ED318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78351" y="2743579"/>
            <a:ext cx="4172826" cy="920551"/>
          </a:xfrm>
        </p:spPr>
        <p:txBody>
          <a:bodyPr/>
          <a:lstStyle/>
          <a:p>
            <a:r>
              <a:rPr lang="sv-SE" sz="5400" dirty="0">
                <a:solidFill>
                  <a:schemeClr val="accent3">
                    <a:lumMod val="50000"/>
                  </a:schemeClr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THANK YOU</a:t>
            </a:r>
            <a:endParaRPr lang="en-US" sz="5400" dirty="0">
              <a:solidFill>
                <a:schemeClr val="accent3">
                  <a:lumMod val="50000"/>
                </a:schemeClr>
              </a:solidFill>
              <a:latin typeface="ADLaM Display" panose="02010000000000000000" pitchFamily="2" charset="0"/>
              <a:ea typeface="ADLaM Display" panose="02010000000000000000" pitchFamily="2" charset="0"/>
              <a:cs typeface="ADLaM Display" panose="0201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833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DCA05-4FE5-39EA-92A5-931E08690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CFEDB6-C74F-4DF3-5A85-B85F9B681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01D6BE0-202F-5E53-64EE-32F4A88FE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2FDE29C-E3A7-92D2-C65E-A748E9E42BC6}"/>
              </a:ext>
            </a:extLst>
          </p:cNvPr>
          <p:cNvSpPr/>
          <p:nvPr/>
        </p:nvSpPr>
        <p:spPr>
          <a:xfrm>
            <a:off x="11307546" y="6085114"/>
            <a:ext cx="740229" cy="674915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GB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4A31AC-2DD2-4823-C8A6-789DD8E5CA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27513" y="2963917"/>
            <a:ext cx="3231334" cy="465083"/>
          </a:xfrm>
        </p:spPr>
        <p:txBody>
          <a:bodyPr vert="horz"/>
          <a:lstStyle/>
          <a:p>
            <a:r>
              <a:rPr lang="en-GB" sz="4000" b="1" dirty="0">
                <a:solidFill>
                  <a:schemeClr val="bg1"/>
                </a:solidFill>
              </a:rPr>
              <a:t>Scope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39674D10-689A-AC7B-1C40-CB17AB93BB63}"/>
              </a:ext>
            </a:extLst>
          </p:cNvPr>
          <p:cNvSpPr txBox="1"/>
          <p:nvPr/>
        </p:nvSpPr>
        <p:spPr>
          <a:xfrm>
            <a:off x="6096000" y="1637486"/>
            <a:ext cx="38576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Applications in Scop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SFCC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SFCC Amanda (Uplif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SFCC integrations with legacy applicat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88246AE-F162-80EF-1254-65A87F50590B}"/>
              </a:ext>
            </a:extLst>
          </p:cNvPr>
          <p:cNvSpPr txBox="1"/>
          <p:nvPr/>
        </p:nvSpPr>
        <p:spPr>
          <a:xfrm>
            <a:off x="5726428" y="667230"/>
            <a:ext cx="47945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/>
              <a:t>The user stories, functional specifications, and defects for the solutions being used will determine the testing's scope for each sprint-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2CF644-4710-96E8-BB90-1B4324E627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6428" y="3100184"/>
            <a:ext cx="6321347" cy="333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01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C665B7-9CB0-7842-899A-C63D72B041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31525" y="421648"/>
            <a:ext cx="4712016" cy="1725856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Test Phase in scope-</a:t>
            </a:r>
          </a:p>
          <a:p>
            <a:pPr marL="609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 pitchFamily="34" charset="0"/>
              </a:rPr>
              <a:t>Functional Testing (System Test)/SIT ?</a:t>
            </a:r>
          </a:p>
          <a:p>
            <a:pPr marL="609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 pitchFamily="34" charset="0"/>
              </a:rPr>
              <a:t>Regression Testing</a:t>
            </a:r>
          </a:p>
          <a:p>
            <a:pPr marL="897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>
                <a:cs typeface="Arial" panose="020B0604020202020204" pitchFamily="34" charset="0"/>
              </a:rPr>
              <a:t>Manual and Automation testing</a:t>
            </a:r>
          </a:p>
          <a:p>
            <a:pPr marL="609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 pitchFamily="34" charset="0"/>
              </a:rPr>
              <a:t>UAT Support </a:t>
            </a:r>
          </a:p>
          <a:p>
            <a:pPr lvl="2">
              <a:lnSpc>
                <a:spcPct val="100000"/>
              </a:lnSpc>
            </a:pPr>
            <a:endParaRPr lang="en-US" sz="1400" dirty="0">
              <a:cs typeface="Arial" panose="020B0604020202020204" pitchFamily="34" charset="0"/>
            </a:endParaRPr>
          </a:p>
          <a:p>
            <a:pPr lvl="2">
              <a:lnSpc>
                <a:spcPct val="100000"/>
              </a:lnSpc>
            </a:pPr>
            <a:endParaRPr lang="en-US" sz="1400" dirty="0">
              <a:cs typeface="Arial" panose="020B0604020202020204" pitchFamily="34" charset="0"/>
            </a:endParaRPr>
          </a:p>
          <a:p>
            <a:endParaRPr lang="en-IN" sz="16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E94ABA9-406B-5EF2-59BD-708196800920}"/>
              </a:ext>
            </a:extLst>
          </p:cNvPr>
          <p:cNvSpPr txBox="1">
            <a:spLocks/>
          </p:cNvSpPr>
          <p:nvPr/>
        </p:nvSpPr>
        <p:spPr>
          <a:xfrm>
            <a:off x="1288241" y="2908630"/>
            <a:ext cx="5678424" cy="6291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400"/>
              </a:spcAft>
            </a:pPr>
            <a:r>
              <a:rPr lang="en-US" sz="4000" b="1" dirty="0">
                <a:solidFill>
                  <a:schemeClr val="bg1"/>
                </a:solidFill>
              </a:rPr>
              <a:t>Test Phase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593196E-F252-4621-D182-6F5E596F7E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45139"/>
              </p:ext>
            </p:extLst>
          </p:nvPr>
        </p:nvGraphicFramePr>
        <p:xfrm>
          <a:off x="5876860" y="2058604"/>
          <a:ext cx="6163056" cy="4136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044">
                  <a:extLst>
                    <a:ext uri="{9D8B030D-6E8A-4147-A177-3AD203B41FA5}">
                      <a16:colId xmlns:a16="http://schemas.microsoft.com/office/drawing/2014/main" val="2190858792"/>
                    </a:ext>
                  </a:extLst>
                </a:gridCol>
                <a:gridCol w="4688012">
                  <a:extLst>
                    <a:ext uri="{9D8B030D-6E8A-4147-A177-3AD203B41FA5}">
                      <a16:colId xmlns:a16="http://schemas.microsoft.com/office/drawing/2014/main" val="3814930515"/>
                    </a:ext>
                  </a:extLst>
                </a:gridCol>
              </a:tblGrid>
              <a:tr h="504584">
                <a:tc>
                  <a:txBody>
                    <a:bodyPr/>
                    <a:lstStyle/>
                    <a:p>
                      <a:r>
                        <a:rPr lang="en-IN" sz="1400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456804"/>
                  </a:ext>
                </a:extLst>
              </a:tr>
              <a:tr h="16772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dirty="0">
                          <a:latin typeface="+mn-lt"/>
                        </a:rPr>
                        <a:t>Functional Testing - New Stories</a:t>
                      </a:r>
                      <a:endParaRPr lang="en-US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n-lt"/>
                          <a:cs typeface="Calibri" panose="020F0502020204030204" pitchFamily="34" charset="0"/>
                        </a:rPr>
                        <a:t>All scenarios mentioned in the Acceptance Criteria to be covered in ST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n-lt"/>
                          <a:cs typeface="Calibri" panose="020F0502020204030204" pitchFamily="34" charset="0"/>
                        </a:rPr>
                        <a:t>Any scenario not tested on ST should have a valid reason and such cases should be covered in AT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latin typeface="+mn-lt"/>
                          <a:cs typeface="Calibri" panose="020F0502020204030204" pitchFamily="34" charset="0"/>
                        </a:rPr>
                        <a:t>Test Data </a:t>
                      </a:r>
                      <a:r>
                        <a:rPr lang="en-US" sz="1600" dirty="0">
                          <a:latin typeface="+mn-lt"/>
                          <a:cs typeface="Calibri" panose="020F0502020204030204" pitchFamily="34" charset="0"/>
                        </a:rPr>
                        <a:t>to be managed with the help of Telia-on need basis if any.</a:t>
                      </a:r>
                      <a:endParaRPr lang="en-US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9999962"/>
                  </a:ext>
                </a:extLst>
              </a:tr>
              <a:tr h="8879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egression Testing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IN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ue to multiple code deployments in ST phase, ST teams should plan to execute regression tests during ST perio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246803"/>
                  </a:ext>
                </a:extLst>
              </a:tr>
              <a:tr h="59690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UAT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uring UAT phase required support will be provided on clarification on functionalities and support to unblock the execution with help of  Dev and Test team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3011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5742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4F722C2-2527-385A-AD4C-F71E472234F2}"/>
              </a:ext>
            </a:extLst>
          </p:cNvPr>
          <p:cNvSpPr txBox="1">
            <a:spLocks/>
          </p:cNvSpPr>
          <p:nvPr/>
        </p:nvSpPr>
        <p:spPr>
          <a:xfrm>
            <a:off x="1189526" y="2799806"/>
            <a:ext cx="3190093" cy="6291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sz="4000" b="1" spc="-1" dirty="0">
                <a:solidFill>
                  <a:schemeClr val="bg1"/>
                </a:solidFill>
                <a:ea typeface="Outfit"/>
              </a:rPr>
              <a:t>Approach</a:t>
            </a:r>
            <a:endParaRPr lang="en-US" sz="40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6AB9F1-4CD9-B7F6-134F-506712407C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4952" y="3928209"/>
            <a:ext cx="5712048" cy="2777391"/>
          </a:xfrm>
          <a:prstGeom prst="rect">
            <a:avLst/>
          </a:prstGeom>
        </p:spPr>
      </p:pic>
      <p:sp>
        <p:nvSpPr>
          <p:cNvPr id="11" name="TextBox 19">
            <a:extLst>
              <a:ext uri="{FF2B5EF4-FFF2-40B4-BE49-F238E27FC236}">
                <a16:creationId xmlns:a16="http://schemas.microsoft.com/office/drawing/2014/main" id="{88C41079-5197-E84B-BD65-D0AE27048BCE}"/>
              </a:ext>
            </a:extLst>
          </p:cNvPr>
          <p:cNvSpPr txBox="1"/>
          <p:nvPr/>
        </p:nvSpPr>
        <p:spPr>
          <a:xfrm>
            <a:off x="5844953" y="152400"/>
            <a:ext cx="6347047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600" dirty="0">
                <a:solidFill>
                  <a:srgbClr val="121214"/>
                </a:solidFill>
                <a:latin typeface="Telia Sans"/>
              </a:rPr>
              <a:t>Testing activities will be conducted iteratively across 12 sprint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Shift Left approach -Test design, preparation, and Execution to start within the sprint.</a:t>
            </a:r>
            <a:endParaRPr lang="en-US" sz="1600" dirty="0">
              <a:solidFill>
                <a:srgbClr val="121214"/>
              </a:solidFill>
              <a:latin typeface="Telia San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Review test cases with BA / product owner and approve.</a:t>
            </a:r>
            <a:endParaRPr lang="en-US" sz="1600" dirty="0">
              <a:solidFill>
                <a:srgbClr val="121214"/>
              </a:solidFill>
              <a:latin typeface="Telia San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est Management and Execution- JIRA/XRA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Regression test Suite </a:t>
            </a:r>
            <a:r>
              <a:rPr lang="en-US" sz="1600" b="1" dirty="0">
                <a:solidFill>
                  <a:schemeClr val="tx1"/>
                </a:solidFill>
              </a:rPr>
              <a:t>(Manual and Automation)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Identify regression cases from current Sprint and update regression test suite</a:t>
            </a:r>
            <a:r>
              <a:rPr lang="en-US" sz="1600" dirty="0"/>
              <a:t> – per sprint.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Feasibility check will be done on identified regression test cases for automation and </a:t>
            </a:r>
            <a:r>
              <a:rPr lang="en-US" sz="1600" dirty="0"/>
              <a:t>script development will be done in N+1 sprint.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Regression</a:t>
            </a:r>
            <a:r>
              <a:rPr lang="en-US" sz="1600" dirty="0"/>
              <a:t> test cases will be executed as per functional impact.</a:t>
            </a:r>
            <a:endParaRPr lang="en-US" sz="1600" dirty="0">
              <a:solidFill>
                <a:schemeClr val="tx1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Defect Management- XRAY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D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efects</a:t>
            </a:r>
            <a:r>
              <a:rPr lang="en-US" sz="1600" dirty="0">
                <a:solidFill>
                  <a:srgbClr val="121214"/>
                </a:solidFill>
                <a:latin typeface="Telia San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o be logged with severity, development team, sprint.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Open Defects to be updated on daily basis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Track </a:t>
            </a:r>
            <a:r>
              <a:rPr lang="en-US" sz="1600" dirty="0">
                <a:solidFill>
                  <a:schemeClr val="tx1"/>
                </a:solidFill>
              </a:rPr>
              <a:t>test progress in Jira dashboard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srgbClr val="121214"/>
              </a:solidFill>
              <a:latin typeface="Telia Sans"/>
            </a:endParaRPr>
          </a:p>
        </p:txBody>
      </p:sp>
    </p:spTree>
    <p:extLst>
      <p:ext uri="{BB962C8B-B14F-4D97-AF65-F5344CB8AC3E}">
        <p14:creationId xmlns:p14="http://schemas.microsoft.com/office/powerpoint/2010/main" val="2929429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D7AFE-5D26-BB15-39A4-EBE75869B5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4451" y="2856956"/>
            <a:ext cx="4476307" cy="751468"/>
          </a:xfrm>
        </p:spPr>
        <p:txBody>
          <a:bodyPr anchor="t">
            <a:no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Telia Sans"/>
              </a:rPr>
              <a:t>Entry Criteria &amp; Exit Criteria</a:t>
            </a:r>
            <a:endParaRPr lang="en-US" sz="40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14:cNvPr>
              <p14:cNvContentPartPr/>
              <p14:nvPr/>
            </p14:nvContentPartPr>
            <p14:xfrm>
              <a:off x="-706240" y="687150"/>
              <a:ext cx="360" cy="360"/>
            </p14:xfrm>
          </p:contentPart>
        </mc:Choice>
        <mc:Fallback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07E735EF-CF0A-C317-A53C-D76B0212981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712360" y="68103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14:cNvPr>
              <p14:cNvContentPartPr/>
              <p14:nvPr/>
            </p14:nvContentPartPr>
            <p14:xfrm>
              <a:off x="-1143280" y="1286550"/>
              <a:ext cx="360" cy="360"/>
            </p14:xfrm>
          </p:contentPart>
        </mc:Choice>
        <mc:Fallback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CBD8D48-3DFE-B143-193D-F209C9798AC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49400" y="128043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38" name="TextBox 1037">
            <a:extLst>
              <a:ext uri="{FF2B5EF4-FFF2-40B4-BE49-F238E27FC236}">
                <a16:creationId xmlns:a16="http://schemas.microsoft.com/office/drawing/2014/main" id="{95204967-1764-E086-A616-66B6451162F9}"/>
              </a:ext>
            </a:extLst>
          </p:cNvPr>
          <p:cNvSpPr txBox="1"/>
          <p:nvPr/>
        </p:nvSpPr>
        <p:spPr>
          <a:xfrm>
            <a:off x="7141210" y="3259723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New CICS Program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1004564C-E025-96B3-AA3E-2C8B5221DABC}"/>
              </a:ext>
            </a:extLst>
          </p:cNvPr>
          <p:cNvSpPr txBox="1"/>
          <p:nvPr/>
        </p:nvSpPr>
        <p:spPr>
          <a:xfrm>
            <a:off x="7842251" y="3263801"/>
            <a:ext cx="71437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SOAP Web Services</a:t>
            </a:r>
            <a:endParaRPr lang="en-IN" sz="500" dirty="0">
              <a:solidFill>
                <a:srgbClr val="FFFFFF"/>
              </a:solidFill>
            </a:endParaRP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52C7429A-A0EE-CC96-AB40-CA460C2CB475}"/>
              </a:ext>
            </a:extLst>
          </p:cNvPr>
          <p:cNvSpPr txBox="1"/>
          <p:nvPr/>
        </p:nvSpPr>
        <p:spPr>
          <a:xfrm>
            <a:off x="5667038" y="1536174"/>
            <a:ext cx="619476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Entry Criteria &amp; Exit Criteria 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Entry Criteria- 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User stories with Acceptance criteria and definition of done marked as </a:t>
            </a:r>
            <a:r>
              <a:rPr lang="en-US" sz="1600" b="1" u="sng" dirty="0">
                <a:solidFill>
                  <a:srgbClr val="121214"/>
                </a:solidFill>
                <a:latin typeface="Telia Sans"/>
              </a:rPr>
              <a:t>“Ready For Test”.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Development of User stories to be completed and unit test result uploaded in JIRA.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Dev Handover to testing team- walkthrough, share open items/Dependencies of user stories etc.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est Env configured with the latest code base.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Exit Criteria-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95% pass rate of in-scope test cases and 100% test execution.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No E1 Defects in Open Status, E2 with workaround.</a:t>
            </a:r>
          </a:p>
          <a:p>
            <a:pPr marL="1085850" lvl="2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21214"/>
                </a:solidFill>
                <a:latin typeface="Telia Sans"/>
              </a:rPr>
              <a:t>Open items to be moved to backlog with the approval from stakeholders/should provide fix date.</a:t>
            </a:r>
          </a:p>
        </p:txBody>
      </p:sp>
    </p:spTree>
    <p:extLst>
      <p:ext uri="{BB962C8B-B14F-4D97-AF65-F5344CB8AC3E}">
        <p14:creationId xmlns:p14="http://schemas.microsoft.com/office/powerpoint/2010/main" val="2345288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BCF27-7345-9C36-D773-C7901DB002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31" name="Ink 1030">
                <a:extLst>
                  <a:ext uri="{FF2B5EF4-FFF2-40B4-BE49-F238E27FC236}">
                    <a16:creationId xmlns:a16="http://schemas.microsoft.com/office/drawing/2014/main" id="{F3976782-F509-23CC-C902-7811EC0EC5A4}"/>
                  </a:ext>
                </a:extLst>
              </p14:cNvPr>
              <p14:cNvContentPartPr/>
              <p14:nvPr/>
            </p14:nvContentPartPr>
            <p14:xfrm>
              <a:off x="-680840" y="630000"/>
              <a:ext cx="360" cy="360"/>
            </p14:xfrm>
          </p:contentPart>
        </mc:Choice>
        <mc:Fallback xmlns="">
          <p:pic>
            <p:nvPicPr>
              <p:cNvPr id="1031" name="Ink 1030">
                <a:extLst>
                  <a:ext uri="{FF2B5EF4-FFF2-40B4-BE49-F238E27FC236}">
                    <a16:creationId xmlns:a16="http://schemas.microsoft.com/office/drawing/2014/main" id="{F3976782-F509-23CC-C902-7811EC0EC5A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686960" y="6238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32" name="Ink 1031">
                <a:extLst>
                  <a:ext uri="{FF2B5EF4-FFF2-40B4-BE49-F238E27FC236}">
                    <a16:creationId xmlns:a16="http://schemas.microsoft.com/office/drawing/2014/main" id="{65041494-6D5F-3A22-F6D5-8A048C1030AF}"/>
                  </a:ext>
                </a:extLst>
              </p14:cNvPr>
              <p14:cNvContentPartPr/>
              <p14:nvPr/>
            </p14:nvContentPartPr>
            <p14:xfrm>
              <a:off x="-1117880" y="1229400"/>
              <a:ext cx="360" cy="360"/>
            </p14:xfrm>
          </p:contentPart>
        </mc:Choice>
        <mc:Fallback xmlns="">
          <p:pic>
            <p:nvPicPr>
              <p:cNvPr id="1032" name="Ink 1031">
                <a:extLst>
                  <a:ext uri="{FF2B5EF4-FFF2-40B4-BE49-F238E27FC236}">
                    <a16:creationId xmlns:a16="http://schemas.microsoft.com/office/drawing/2014/main" id="{65041494-6D5F-3A22-F6D5-8A048C1030A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1124000" y="1223280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itle 1">
            <a:extLst>
              <a:ext uri="{FF2B5EF4-FFF2-40B4-BE49-F238E27FC236}">
                <a16:creationId xmlns:a16="http://schemas.microsoft.com/office/drawing/2014/main" id="{BC95351E-83C9-1857-2B85-D0DC530AAAFA}"/>
              </a:ext>
            </a:extLst>
          </p:cNvPr>
          <p:cNvSpPr txBox="1">
            <a:spLocks/>
          </p:cNvSpPr>
          <p:nvPr/>
        </p:nvSpPr>
        <p:spPr>
          <a:xfrm>
            <a:off x="1098924" y="2989586"/>
            <a:ext cx="3749312" cy="6291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400"/>
              </a:spcAft>
            </a:pPr>
            <a:r>
              <a:rPr lang="en-US" sz="4000" b="1" dirty="0">
                <a:solidFill>
                  <a:schemeClr val="bg1"/>
                </a:solidFill>
              </a:rPr>
              <a:t>Dependenc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CB365B-AB54-AB52-EA98-B07E4FA793FA}"/>
              </a:ext>
            </a:extLst>
          </p:cNvPr>
          <p:cNvSpPr txBox="1"/>
          <p:nvPr/>
        </p:nvSpPr>
        <p:spPr>
          <a:xfrm>
            <a:off x="5646184" y="1782395"/>
            <a:ext cx="6397255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endParaRPr lang="en-I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pend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est 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Integration systems as per scope for System Test should be available on time.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Down time should be Intimated prior for better plann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Deployment schedule should be shared in advance(daily/weekly)</a:t>
            </a:r>
          </a:p>
          <a:p>
            <a:pPr lvl="2"/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est Dat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Telia to Provide the required test data whenever required (e.g.-, Customer data- synthetic data, Numbers etc.) </a:t>
            </a:r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2850778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27CCEF-628B-0FA0-168C-C4C9DBEC13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2278331"/>
            <a:ext cx="5516688" cy="294289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Required artifacts – Sign off- Design doc, Functional doc, US Acceptance Criteria, Walkthrough, Definition of Done, UT resul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Functional Gaps, Limitations, open issues, Dependencies on other U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Requirement or design change during development if any to be communicat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Code deployment statu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D3C2F91-4193-C092-4805-8373671381D7}"/>
              </a:ext>
            </a:extLst>
          </p:cNvPr>
          <p:cNvSpPr txBox="1">
            <a:spLocks/>
          </p:cNvSpPr>
          <p:nvPr/>
        </p:nvSpPr>
        <p:spPr>
          <a:xfrm>
            <a:off x="579312" y="3053266"/>
            <a:ext cx="4725109" cy="7514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chemeClr val="bg1"/>
                </a:solidFill>
              </a:rPr>
              <a:t>Dev Handover to Test</a:t>
            </a:r>
          </a:p>
        </p:txBody>
      </p:sp>
    </p:spTree>
    <p:extLst>
      <p:ext uri="{BB962C8B-B14F-4D97-AF65-F5344CB8AC3E}">
        <p14:creationId xmlns:p14="http://schemas.microsoft.com/office/powerpoint/2010/main" val="4268125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698FE4-81BF-5847-18EA-064DA7F732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21350" y="1306394"/>
            <a:ext cx="6375400" cy="4245211"/>
          </a:xfrm>
        </p:spPr>
        <p:txBody>
          <a:bodyPr/>
          <a:lstStyle/>
          <a:p>
            <a:endParaRPr lang="en-I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UAT Handover will be planned before the UAT execution sta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Handover deck will cover List of US stories tested in ST and test status, open defects if any</a:t>
            </a:r>
          </a:p>
          <a:p>
            <a:endParaRPr lang="en-I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Test Result:</a:t>
            </a:r>
          </a:p>
          <a:p>
            <a:pPr marL="666900" lvl="1" indent="-342900">
              <a:buFont typeface="Arial" panose="020B0604020202020204" pitchFamily="34" charset="0"/>
              <a:buChar char="•"/>
            </a:pPr>
            <a:r>
              <a:rPr lang="en-IN" sz="1600" dirty="0"/>
              <a:t>Execution - 100% Execution , 95% pass. </a:t>
            </a:r>
          </a:p>
          <a:p>
            <a:pPr marL="666900" lvl="1" indent="-342900">
              <a:buFont typeface="Arial" panose="020B0604020202020204" pitchFamily="34" charset="0"/>
              <a:buChar char="•"/>
            </a:pPr>
            <a:r>
              <a:rPr lang="en-IN" sz="1600" dirty="0"/>
              <a:t>List of open defects and planned fix date/workaroun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600" dirty="0"/>
              <a:t>Any scenario not tested in ST should be informed with a valid reason. </a:t>
            </a:r>
          </a:p>
          <a:p>
            <a:endParaRPr lang="en-IN" sz="16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6335C07-6F89-71BA-5F35-78AAF0833670}"/>
              </a:ext>
            </a:extLst>
          </p:cNvPr>
          <p:cNvSpPr txBox="1">
            <a:spLocks/>
          </p:cNvSpPr>
          <p:nvPr/>
        </p:nvSpPr>
        <p:spPr>
          <a:xfrm>
            <a:off x="1259796" y="3180857"/>
            <a:ext cx="3556753" cy="7514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2000"/>
              </a:lnSpc>
              <a:spcBef>
                <a:spcPct val="0"/>
              </a:spcBef>
              <a:buNone/>
              <a:defRPr sz="50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chemeClr val="bg1"/>
                </a:solidFill>
              </a:rPr>
              <a:t>UAT Handover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B030886-3BCA-54D6-14AB-135A3CBEDC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775862"/>
              </p:ext>
            </p:extLst>
          </p:nvPr>
        </p:nvGraphicFramePr>
        <p:xfrm>
          <a:off x="6096000" y="2552639"/>
          <a:ext cx="5905500" cy="7800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1420">
                  <a:extLst>
                    <a:ext uri="{9D8B030D-6E8A-4147-A177-3AD203B41FA5}">
                      <a16:colId xmlns:a16="http://schemas.microsoft.com/office/drawing/2014/main" val="3238755596"/>
                    </a:ext>
                  </a:extLst>
                </a:gridCol>
                <a:gridCol w="2631680">
                  <a:extLst>
                    <a:ext uri="{9D8B030D-6E8A-4147-A177-3AD203B41FA5}">
                      <a16:colId xmlns:a16="http://schemas.microsoft.com/office/drawing/2014/main" val="375097788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751239185"/>
                    </a:ext>
                  </a:extLst>
                </a:gridCol>
                <a:gridCol w="1612900">
                  <a:extLst>
                    <a:ext uri="{9D8B030D-6E8A-4147-A177-3AD203B41FA5}">
                      <a16:colId xmlns:a16="http://schemas.microsoft.com/office/drawing/2014/main" val="1461746820"/>
                    </a:ext>
                  </a:extLst>
                </a:gridCol>
              </a:tblGrid>
              <a:tr h="342961"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ey</a:t>
                      </a:r>
                    </a:p>
                  </a:txBody>
                  <a:tcPr marL="7632" marR="7632" marT="76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ummary</a:t>
                      </a:r>
                    </a:p>
                  </a:txBody>
                  <a:tcPr marL="7632" marR="7632" marT="76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tus</a:t>
                      </a:r>
                    </a:p>
                  </a:txBody>
                  <a:tcPr marL="7632" marR="7632" marT="76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ments</a:t>
                      </a:r>
                      <a:endParaRPr lang="sv-SE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32" marR="7632" marT="76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52776"/>
                  </a:ext>
                </a:extLst>
              </a:tr>
              <a:tr h="437057"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US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e to SFC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ST Finish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pen Defect If any or any other comment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795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2303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ull bleed images and special slides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Presentation3" id="{3411B177-D6BB-4997-B3F9-944DC915A5F3}" vid="{A22B3E4D-D547-4E7E-AABF-391C50F05693}"/>
    </a:ext>
  </a:extLst>
</a:theme>
</file>

<file path=ppt/theme/theme2.xml><?xml version="1.0" encoding="utf-8"?>
<a:theme xmlns:a="http://schemas.openxmlformats.org/drawingml/2006/main" name="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Presentation3" id="{3411B177-D6BB-4997-B3F9-944DC915A5F3}" vid="{C5353BED-6B5E-49C9-8B9D-A727A32DC50E}"/>
    </a:ext>
  </a:extLst>
</a:theme>
</file>

<file path=ppt/theme/theme3.xml><?xml version="1.0" encoding="utf-8"?>
<a:theme xmlns:a="http://schemas.openxmlformats.org/drawingml/2006/main" name="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Presentation3" id="{3411B177-D6BB-4997-B3F9-944DC915A5F3}" vid="{996EA558-2303-4C86-AE76-BA5E9D1A1BD0}"/>
    </a:ext>
  </a:extLst>
</a:theme>
</file>

<file path=ppt/theme/theme4.xml><?xml version="1.0" encoding="utf-8"?>
<a:theme xmlns:a="http://schemas.openxmlformats.org/drawingml/2006/main" name="Light beig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Presentation3" id="{3411B177-D6BB-4997-B3F9-944DC915A5F3}" vid="{8BCB0086-F26E-423E-A780-1F66F187AF62}"/>
    </a:ext>
  </a:extLst>
</a:theme>
</file>

<file path=ppt/theme/theme5.xml><?xml version="1.0" encoding="utf-8"?>
<a:theme xmlns:a="http://schemas.openxmlformats.org/drawingml/2006/main" name="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Presentation3" id="{3411B177-D6BB-4997-B3F9-944DC915A5F3}" vid="{E17FF09E-67D9-4E12-8F0E-3C8F9BBF5444}"/>
    </a:ext>
  </a:extLst>
</a:theme>
</file>

<file path=ppt/theme/theme6.xml><?xml version="1.0" encoding="utf-8"?>
<a:theme xmlns:a="http://schemas.openxmlformats.org/drawingml/2006/main" name="1_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0_Telia Company.potx" id="{AFD9E5E1-8E98-4633-9E1F-B6A4C7346C6F}" vid="{F2A1DD06-A1A0-49B6-983B-6AEB96780FC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2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3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4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5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B5B89A3FF8C749BE3129CD0D01AC13" ma:contentTypeVersion="13" ma:contentTypeDescription="Create a new document." ma:contentTypeScope="" ma:versionID="74fe4a0b05e290229546353a9f71f9c0">
  <xsd:schema xmlns:xsd="http://www.w3.org/2001/XMLSchema" xmlns:xs="http://www.w3.org/2001/XMLSchema" xmlns:p="http://schemas.microsoft.com/office/2006/metadata/properties" xmlns:ns2="bba11a97-f3d6-4df5-b1e4-7b1184c53821" xmlns:ns3="05d28493-ec7a-44bc-967e-30c29423e935" targetNamespace="http://schemas.microsoft.com/office/2006/metadata/properties" ma:root="true" ma:fieldsID="2118482e762921f951d62fdb0fac49f9" ns2:_="" ns3:_="">
    <xsd:import namespace="bba11a97-f3d6-4df5-b1e4-7b1184c53821"/>
    <xsd:import namespace="05d28493-ec7a-44bc-967e-30c29423e9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a11a97-f3d6-4df5-b1e4-7b1184c53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97466bf-e578-44ab-9e10-908c576dad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28493-ec7a-44bc-967e-30c29423e93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f3eb7c4-016c-4574-93aa-c4fb6e4e4334}" ma:internalName="TaxCatchAll" ma:showField="CatchAllData" ma:web="05d28493-ec7a-44bc-967e-30c29423e9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ba11a97-f3d6-4df5-b1e4-7b1184c53821">
      <Terms xmlns="http://schemas.microsoft.com/office/infopath/2007/PartnerControls"/>
    </lcf76f155ced4ddcb4097134ff3c332f>
    <TaxCatchAll xmlns="05d28493-ec7a-44bc-967e-30c29423e93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D4A0A7-2911-4F23-A2EB-080EE710CBCA}">
  <ds:schemaRefs>
    <ds:schemaRef ds:uri="05d28493-ec7a-44bc-967e-30c29423e935"/>
    <ds:schemaRef ds:uri="bba11a97-f3d6-4df5-b1e4-7b1184c538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CC13C9B-8238-408A-9C8F-FB08D7D2984F}">
  <ds:schemaRefs>
    <ds:schemaRef ds:uri="05d28493-ec7a-44bc-967e-30c29423e935"/>
    <ds:schemaRef ds:uri="http://schemas.microsoft.com/office/2006/documentManagement/types"/>
    <ds:schemaRef ds:uri="bba11a97-f3d6-4df5-b1e4-7b1184c53821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A66DAF5-F8CC-46C0-ABD7-6E167560A1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lia template</Template>
  <TotalTime>24641</TotalTime>
  <Words>1117</Words>
  <Application>Microsoft Office PowerPoint</Application>
  <PresentationFormat>Widescreen</PresentationFormat>
  <Paragraphs>181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Abadi</vt:lpstr>
      <vt:lpstr>ADLaM Display</vt:lpstr>
      <vt:lpstr>Arial</vt:lpstr>
      <vt:lpstr>Calibri</vt:lpstr>
      <vt:lpstr>Outfit</vt:lpstr>
      <vt:lpstr>Roboto</vt:lpstr>
      <vt:lpstr>Telia Sans</vt:lpstr>
      <vt:lpstr>Telia Sans Heading Heading</vt:lpstr>
      <vt:lpstr>Telia Sans Medium</vt:lpstr>
      <vt:lpstr>Full bleed images and special slides</vt:lpstr>
      <vt:lpstr>Deep purple</vt:lpstr>
      <vt:lpstr>Light purple</vt:lpstr>
      <vt:lpstr>Light beige</vt:lpstr>
      <vt:lpstr>White</vt:lpstr>
      <vt:lpstr>1_White</vt:lpstr>
      <vt:lpstr>think-cell Slide</vt:lpstr>
      <vt:lpstr>                Test Strategy .</vt:lpstr>
      <vt:lpstr>Introduction</vt:lpstr>
      <vt:lpstr>Scope</vt:lpstr>
      <vt:lpstr>PowerPoint Presentation</vt:lpstr>
      <vt:lpstr>PowerPoint Presentation</vt:lpstr>
      <vt:lpstr>Entry Criteria &amp; Exit Criteria</vt:lpstr>
      <vt:lpstr>PowerPoint Presentation</vt:lpstr>
      <vt:lpstr>PowerPoint Presentation</vt:lpstr>
      <vt:lpstr>PowerPoint Presentation</vt:lpstr>
      <vt:lpstr>PowerPoint Presentation</vt:lpstr>
      <vt:lpstr>Roles &amp; Responsibilities</vt:lpstr>
      <vt:lpstr>PowerPoint Presentation</vt:lpstr>
      <vt:lpstr>PowerPoint Presentation</vt:lpstr>
      <vt:lpstr>Test Automation Benefits</vt:lpstr>
      <vt:lpstr>Current Test Suite Capabilities</vt:lpstr>
      <vt:lpstr>Current Automation Test Suite Structure</vt:lpstr>
      <vt:lpstr>Integration Strategy</vt:lpstr>
      <vt:lpstr>Modifications to folder structure</vt:lpstr>
      <vt:lpstr>CI/CD setup and reporting metrics</vt:lpstr>
      <vt:lpstr>Test Execution</vt:lpstr>
      <vt:lpstr>Test automation integrations with cross teams</vt:lpstr>
      <vt:lpstr>Timeline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S: Assessment of solution alternatives (Pre-Epic)</dc:title>
  <dc:creator>Sörgård, Fred /External</dc:creator>
  <cp:lastModifiedBy>Suman, Surbhi</cp:lastModifiedBy>
  <cp:revision>88</cp:revision>
  <dcterms:created xsi:type="dcterms:W3CDTF">2023-10-17T09:35:24Z</dcterms:created>
  <dcterms:modified xsi:type="dcterms:W3CDTF">2025-04-25T14:1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B5B89A3FF8C749BE3129CD0D01AC13</vt:lpwstr>
  </property>
  <property fmtid="{D5CDD505-2E9C-101B-9397-08002B2CF9AE}" pid="3" name="MediaServiceImageTags">
    <vt:lpwstr/>
  </property>
</Properties>
</file>